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0"/>
  </p:notesMasterIdLst>
  <p:sldIdLst>
    <p:sldId id="9040" r:id="rId5"/>
    <p:sldId id="9070" r:id="rId6"/>
    <p:sldId id="9045" r:id="rId7"/>
    <p:sldId id="2076137379" r:id="rId8"/>
    <p:sldId id="2076137394" r:id="rId9"/>
    <p:sldId id="9079" r:id="rId10"/>
    <p:sldId id="9087" r:id="rId11"/>
    <p:sldId id="2076137387" r:id="rId12"/>
    <p:sldId id="2076137388" r:id="rId13"/>
    <p:sldId id="2076137389" r:id="rId14"/>
    <p:sldId id="2076137390" r:id="rId15"/>
    <p:sldId id="2076137391" r:id="rId16"/>
    <p:sldId id="9056" r:id="rId17"/>
    <p:sldId id="9075" r:id="rId18"/>
    <p:sldId id="2076137395"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claren-Hall, Jerilyn" initials="MJ" lastIdx="14" clrIdx="0">
    <p:extLst>
      <p:ext uri="{19B8F6BF-5375-455C-9EA6-DF929625EA0E}">
        <p15:presenceInfo xmlns:p15="http://schemas.microsoft.com/office/powerpoint/2012/main" userId="S::j.m.maclaren-hall@accenture.com::9a1f7aff-8a73-4de1-9779-572b1541991f" providerId="AD"/>
      </p:ext>
    </p:extLst>
  </p:cmAuthor>
  <p:cmAuthor id="2" name="J.B. Perkey" initials="JP" lastIdx="2" clrIdx="1">
    <p:extLst>
      <p:ext uri="{19B8F6BF-5375-455C-9EA6-DF929625EA0E}">
        <p15:presenceInfo xmlns:p15="http://schemas.microsoft.com/office/powerpoint/2012/main" userId="S::J.B.Perkey@ey.com::459972c7-3157-4796-857e-a5aa0759ea74" providerId="AD"/>
      </p:ext>
    </p:extLst>
  </p:cmAuthor>
  <p:cmAuthor id="3" name="kauffman, kevin" initials="kk" lastIdx="19" clrIdx="2">
    <p:extLst>
      <p:ext uri="{19B8F6BF-5375-455C-9EA6-DF929625EA0E}">
        <p15:presenceInfo xmlns:p15="http://schemas.microsoft.com/office/powerpoint/2012/main" userId="S::kevin.kauffman_acn@dhhs.nc.gov::250f7df6-c453-4c2d-a589-6894fdc1da6a" providerId="AD"/>
      </p:ext>
    </p:extLst>
  </p:cmAuthor>
  <p:cmAuthor id="4" name="Gracie A Chewning" initials="GC" lastIdx="1" clrIdx="3">
    <p:extLst>
      <p:ext uri="{19B8F6BF-5375-455C-9EA6-DF929625EA0E}">
        <p15:presenceInfo xmlns:p15="http://schemas.microsoft.com/office/powerpoint/2012/main" userId="S::gracie.a.chewning@ey.com::9de9d667-e019-4a85-82bf-b9f50f141a0d" providerId="AD"/>
      </p:ext>
    </p:extLst>
  </p:cmAuthor>
  <p:cmAuthor id="5" name="Nate J Engel" initials="NJE" lastIdx="1" clrIdx="4">
    <p:extLst>
      <p:ext uri="{19B8F6BF-5375-455C-9EA6-DF929625EA0E}">
        <p15:presenceInfo xmlns:p15="http://schemas.microsoft.com/office/powerpoint/2012/main" userId="S::Nate.J.Engel@ey.com::ceb1fc4a-eb95-4a90-b3f7-3b6e871c59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375"/>
    <a:srgbClr val="397AAC"/>
    <a:srgbClr val="6464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3" d="100"/>
          <a:sy n="53" d="100"/>
        </p:scale>
        <p:origin x="360"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rd, Jim" userId="ccb1f99f-f207-4b10-a60c-07845af988f2" providerId="ADAL" clId="{3E0EC89F-1EE1-4F1B-8C41-13EA09C4CE79}"/>
    <pc:docChg chg="undo custSel modSld modMainMaster">
      <pc:chgData name="Bard, Jim" userId="ccb1f99f-f207-4b10-a60c-07845af988f2" providerId="ADAL" clId="{3E0EC89F-1EE1-4F1B-8C41-13EA09C4CE79}" dt="2021-02-09T20:55:27.179" v="986" actId="20577"/>
      <pc:docMkLst>
        <pc:docMk/>
      </pc:docMkLst>
      <pc:sldChg chg="modSp mod">
        <pc:chgData name="Bard, Jim" userId="ccb1f99f-f207-4b10-a60c-07845af988f2" providerId="ADAL" clId="{3E0EC89F-1EE1-4F1B-8C41-13EA09C4CE79}" dt="2021-02-09T19:00:10.622" v="126" actId="6549"/>
        <pc:sldMkLst>
          <pc:docMk/>
          <pc:sldMk cId="24598589" sldId="9040"/>
        </pc:sldMkLst>
        <pc:spChg chg="mod">
          <ac:chgData name="Bard, Jim" userId="ccb1f99f-f207-4b10-a60c-07845af988f2" providerId="ADAL" clId="{3E0EC89F-1EE1-4F1B-8C41-13EA09C4CE79}" dt="2021-02-09T19:00:10.622" v="126" actId="6549"/>
          <ac:spMkLst>
            <pc:docMk/>
            <pc:sldMk cId="24598589" sldId="9040"/>
            <ac:spMk id="2" creationId="{BC00BD3B-220C-784F-A2E2-B8BF525AC13A}"/>
          </ac:spMkLst>
        </pc:spChg>
      </pc:sldChg>
      <pc:sldChg chg="delSp modSp mod">
        <pc:chgData name="Bard, Jim" userId="ccb1f99f-f207-4b10-a60c-07845af988f2" providerId="ADAL" clId="{3E0EC89F-1EE1-4F1B-8C41-13EA09C4CE79}" dt="2021-02-09T19:10:31.442" v="767" actId="6549"/>
        <pc:sldMkLst>
          <pc:docMk/>
          <pc:sldMk cId="946266505" sldId="9045"/>
        </pc:sldMkLst>
        <pc:spChg chg="del mod">
          <ac:chgData name="Bard, Jim" userId="ccb1f99f-f207-4b10-a60c-07845af988f2" providerId="ADAL" clId="{3E0EC89F-1EE1-4F1B-8C41-13EA09C4CE79}" dt="2021-02-09T19:10:06.191" v="750" actId="478"/>
          <ac:spMkLst>
            <pc:docMk/>
            <pc:sldMk cId="946266505" sldId="9045"/>
            <ac:spMk id="5" creationId="{BADEDF88-32FC-4856-AE87-DB351D2708C1}"/>
          </ac:spMkLst>
        </pc:spChg>
        <pc:spChg chg="mod">
          <ac:chgData name="Bard, Jim" userId="ccb1f99f-f207-4b10-a60c-07845af988f2" providerId="ADAL" clId="{3E0EC89F-1EE1-4F1B-8C41-13EA09C4CE79}" dt="2021-02-09T19:10:31.442" v="767" actId="6549"/>
          <ac:spMkLst>
            <pc:docMk/>
            <pc:sldMk cId="946266505" sldId="9045"/>
            <ac:spMk id="6" creationId="{DD44C1A4-CC9D-4A4B-B32B-18DEC47A3A50}"/>
          </ac:spMkLst>
        </pc:spChg>
      </pc:sldChg>
      <pc:sldChg chg="modSp mod">
        <pc:chgData name="Bard, Jim" userId="ccb1f99f-f207-4b10-a60c-07845af988f2" providerId="ADAL" clId="{3E0EC89F-1EE1-4F1B-8C41-13EA09C4CE79}" dt="2021-02-09T20:55:27.179" v="986" actId="20577"/>
        <pc:sldMkLst>
          <pc:docMk/>
          <pc:sldMk cId="3123279992" sldId="9070"/>
        </pc:sldMkLst>
        <pc:graphicFrameChg chg="mod modGraphic">
          <ac:chgData name="Bard, Jim" userId="ccb1f99f-f207-4b10-a60c-07845af988f2" providerId="ADAL" clId="{3E0EC89F-1EE1-4F1B-8C41-13EA09C4CE79}" dt="2021-02-09T20:55:27.179" v="986" actId="20577"/>
          <ac:graphicFrameMkLst>
            <pc:docMk/>
            <pc:sldMk cId="3123279992" sldId="9070"/>
            <ac:graphicFrameMk id="6" creationId="{78B1BD31-3AF9-4B81-93FC-7241460106EA}"/>
          </ac:graphicFrameMkLst>
        </pc:graphicFrameChg>
      </pc:sldChg>
      <pc:sldChg chg="addSp delSp modSp mod">
        <pc:chgData name="Bard, Jim" userId="ccb1f99f-f207-4b10-a60c-07845af988f2" providerId="ADAL" clId="{3E0EC89F-1EE1-4F1B-8C41-13EA09C4CE79}" dt="2021-02-09T19:18:12.137" v="890" actId="20577"/>
        <pc:sldMkLst>
          <pc:docMk/>
          <pc:sldMk cId="1447221636" sldId="9079"/>
        </pc:sldMkLst>
        <pc:spChg chg="mod">
          <ac:chgData name="Bard, Jim" userId="ccb1f99f-f207-4b10-a60c-07845af988f2" providerId="ADAL" clId="{3E0EC89F-1EE1-4F1B-8C41-13EA09C4CE79}" dt="2021-02-09T19:11:19.851" v="799" actId="20577"/>
          <ac:spMkLst>
            <pc:docMk/>
            <pc:sldMk cId="1447221636" sldId="9079"/>
            <ac:spMk id="13" creationId="{512C98CA-0CF8-4EA9-A3B6-4D0C2F533E60}"/>
          </ac:spMkLst>
        </pc:spChg>
        <pc:spChg chg="mod">
          <ac:chgData name="Bard, Jim" userId="ccb1f99f-f207-4b10-a60c-07845af988f2" providerId="ADAL" clId="{3E0EC89F-1EE1-4F1B-8C41-13EA09C4CE79}" dt="2021-02-09T19:18:12.137" v="890" actId="20577"/>
          <ac:spMkLst>
            <pc:docMk/>
            <pc:sldMk cId="1447221636" sldId="9079"/>
            <ac:spMk id="21" creationId="{97484700-38C9-49CC-AFE3-401E5C2E2E73}"/>
          </ac:spMkLst>
        </pc:spChg>
        <pc:grpChg chg="add del mod">
          <ac:chgData name="Bard, Jim" userId="ccb1f99f-f207-4b10-a60c-07845af988f2" providerId="ADAL" clId="{3E0EC89F-1EE1-4F1B-8C41-13EA09C4CE79}" dt="2021-02-09T19:16:11.440" v="842" actId="478"/>
          <ac:grpSpMkLst>
            <pc:docMk/>
            <pc:sldMk cId="1447221636" sldId="9079"/>
            <ac:grpSpMk id="2" creationId="{91AE0983-0B49-4856-B2BE-4424B4B69601}"/>
          </ac:grpSpMkLst>
        </pc:grpChg>
        <pc:picChg chg="add mod">
          <ac:chgData name="Bard, Jim" userId="ccb1f99f-f207-4b10-a60c-07845af988f2" providerId="ADAL" clId="{3E0EC89F-1EE1-4F1B-8C41-13EA09C4CE79}" dt="2021-02-09T19:16:47.591" v="859" actId="692"/>
          <ac:picMkLst>
            <pc:docMk/>
            <pc:sldMk cId="1447221636" sldId="9079"/>
            <ac:picMk id="3" creationId="{377E0644-0A3B-4EFC-A1EA-5F13AB1B5CC6}"/>
          </ac:picMkLst>
        </pc:picChg>
        <pc:picChg chg="del mod">
          <ac:chgData name="Bard, Jim" userId="ccb1f99f-f207-4b10-a60c-07845af988f2" providerId="ADAL" clId="{3E0EC89F-1EE1-4F1B-8C41-13EA09C4CE79}" dt="2021-02-09T19:16:11.440" v="842" actId="478"/>
          <ac:picMkLst>
            <pc:docMk/>
            <pc:sldMk cId="1447221636" sldId="9079"/>
            <ac:picMk id="20483" creationId="{530EC0D7-40AF-4EE2-A6D0-A417769577BA}"/>
          </ac:picMkLst>
        </pc:picChg>
        <pc:picChg chg="mod">
          <ac:chgData name="Bard, Jim" userId="ccb1f99f-f207-4b10-a60c-07845af988f2" providerId="ADAL" clId="{3E0EC89F-1EE1-4F1B-8C41-13EA09C4CE79}" dt="2021-02-09T19:17:09.067" v="863" actId="14100"/>
          <ac:picMkLst>
            <pc:docMk/>
            <pc:sldMk cId="1447221636" sldId="9079"/>
            <ac:picMk id="20485" creationId="{9A3B2A1E-2E50-4C51-875F-D697D7D48E2E}"/>
          </ac:picMkLst>
        </pc:picChg>
      </pc:sldChg>
      <pc:sldChg chg="modSp mod">
        <pc:chgData name="Bard, Jim" userId="ccb1f99f-f207-4b10-a60c-07845af988f2" providerId="ADAL" clId="{3E0EC89F-1EE1-4F1B-8C41-13EA09C4CE79}" dt="2021-02-09T19:18:24.030" v="902" actId="20577"/>
        <pc:sldMkLst>
          <pc:docMk/>
          <pc:sldMk cId="494369478" sldId="9087"/>
        </pc:sldMkLst>
        <pc:spChg chg="mod">
          <ac:chgData name="Bard, Jim" userId="ccb1f99f-f207-4b10-a60c-07845af988f2" providerId="ADAL" clId="{3E0EC89F-1EE1-4F1B-8C41-13EA09C4CE79}" dt="2021-02-09T19:12:04.818" v="810" actId="20577"/>
          <ac:spMkLst>
            <pc:docMk/>
            <pc:sldMk cId="494369478" sldId="9087"/>
            <ac:spMk id="12" creationId="{02CDB8F5-2669-4F08-AD92-A79C8F7AEAD0}"/>
          </ac:spMkLst>
        </pc:spChg>
        <pc:spChg chg="mod">
          <ac:chgData name="Bard, Jim" userId="ccb1f99f-f207-4b10-a60c-07845af988f2" providerId="ADAL" clId="{3E0EC89F-1EE1-4F1B-8C41-13EA09C4CE79}" dt="2021-02-09T19:18:24.030" v="902" actId="20577"/>
          <ac:spMkLst>
            <pc:docMk/>
            <pc:sldMk cId="494369478" sldId="9087"/>
            <ac:spMk id="21" creationId="{97484700-38C9-49CC-AFE3-401E5C2E2E73}"/>
          </ac:spMkLst>
        </pc:spChg>
      </pc:sldChg>
      <pc:sldChg chg="modSp mod">
        <pc:chgData name="Bard, Jim" userId="ccb1f99f-f207-4b10-a60c-07845af988f2" providerId="ADAL" clId="{3E0EC89F-1EE1-4F1B-8C41-13EA09C4CE79}" dt="2021-02-09T19:09:17.140" v="725" actId="20577"/>
        <pc:sldMkLst>
          <pc:docMk/>
          <pc:sldMk cId="3598891342" sldId="2076137379"/>
        </pc:sldMkLst>
        <pc:spChg chg="mod">
          <ac:chgData name="Bard, Jim" userId="ccb1f99f-f207-4b10-a60c-07845af988f2" providerId="ADAL" clId="{3E0EC89F-1EE1-4F1B-8C41-13EA09C4CE79}" dt="2021-02-09T19:02:12.757" v="221" actId="20577"/>
          <ac:spMkLst>
            <pc:docMk/>
            <pc:sldMk cId="3598891342" sldId="2076137379"/>
            <ac:spMk id="2" creationId="{6BEA930D-A79D-48B7-8C36-233F22E7D2AC}"/>
          </ac:spMkLst>
        </pc:spChg>
        <pc:spChg chg="mod">
          <ac:chgData name="Bard, Jim" userId="ccb1f99f-f207-4b10-a60c-07845af988f2" providerId="ADAL" clId="{3E0EC89F-1EE1-4F1B-8C41-13EA09C4CE79}" dt="2021-02-09T19:07:11.801" v="570" actId="20577"/>
          <ac:spMkLst>
            <pc:docMk/>
            <pc:sldMk cId="3598891342" sldId="2076137379"/>
            <ac:spMk id="20" creationId="{56FC00A2-FF17-493E-A90D-50A0BDC6DEC7}"/>
          </ac:spMkLst>
        </pc:spChg>
        <pc:spChg chg="mod">
          <ac:chgData name="Bard, Jim" userId="ccb1f99f-f207-4b10-a60c-07845af988f2" providerId="ADAL" clId="{3E0EC89F-1EE1-4F1B-8C41-13EA09C4CE79}" dt="2021-02-09T19:09:17.140" v="725" actId="20577"/>
          <ac:spMkLst>
            <pc:docMk/>
            <pc:sldMk cId="3598891342" sldId="2076137379"/>
            <ac:spMk id="21" creationId="{C7140DB9-EA02-43CF-A667-A4695DFFCE48}"/>
          </ac:spMkLst>
        </pc:spChg>
        <pc:spChg chg="mod">
          <ac:chgData name="Bard, Jim" userId="ccb1f99f-f207-4b10-a60c-07845af988f2" providerId="ADAL" clId="{3E0EC89F-1EE1-4F1B-8C41-13EA09C4CE79}" dt="2021-02-09T19:06:12.665" v="508" actId="20577"/>
          <ac:spMkLst>
            <pc:docMk/>
            <pc:sldMk cId="3598891342" sldId="2076137379"/>
            <ac:spMk id="22" creationId="{375F6CD6-F02B-4AB6-9178-6F61338A2F9B}"/>
          </ac:spMkLst>
        </pc:spChg>
        <pc:spChg chg="mod">
          <ac:chgData name="Bard, Jim" userId="ccb1f99f-f207-4b10-a60c-07845af988f2" providerId="ADAL" clId="{3E0EC89F-1EE1-4F1B-8C41-13EA09C4CE79}" dt="2021-02-09T19:06:29.409" v="510" actId="14100"/>
          <ac:spMkLst>
            <pc:docMk/>
            <pc:sldMk cId="3598891342" sldId="2076137379"/>
            <ac:spMk id="124" creationId="{46ED309E-F59D-45A0-B1EE-99B4AA64F61D}"/>
          </ac:spMkLst>
        </pc:spChg>
      </pc:sldChg>
      <pc:sldChg chg="modSp mod">
        <pc:chgData name="Bard, Jim" userId="ccb1f99f-f207-4b10-a60c-07845af988f2" providerId="ADAL" clId="{3E0EC89F-1EE1-4F1B-8C41-13EA09C4CE79}" dt="2021-02-09T19:18:40.663" v="913" actId="20577"/>
        <pc:sldMkLst>
          <pc:docMk/>
          <pc:sldMk cId="3773699427" sldId="2076137387"/>
        </pc:sldMkLst>
        <pc:spChg chg="mod">
          <ac:chgData name="Bard, Jim" userId="ccb1f99f-f207-4b10-a60c-07845af988f2" providerId="ADAL" clId="{3E0EC89F-1EE1-4F1B-8C41-13EA09C4CE79}" dt="2021-02-09T19:12:37.403" v="816" actId="20577"/>
          <ac:spMkLst>
            <pc:docMk/>
            <pc:sldMk cId="3773699427" sldId="2076137387"/>
            <ac:spMk id="16" creationId="{F82660D4-174E-494B-8138-62CC2BD92056}"/>
          </ac:spMkLst>
        </pc:spChg>
        <pc:spChg chg="mod">
          <ac:chgData name="Bard, Jim" userId="ccb1f99f-f207-4b10-a60c-07845af988f2" providerId="ADAL" clId="{3E0EC89F-1EE1-4F1B-8C41-13EA09C4CE79}" dt="2021-02-09T19:18:40.663" v="913" actId="20577"/>
          <ac:spMkLst>
            <pc:docMk/>
            <pc:sldMk cId="3773699427" sldId="2076137387"/>
            <ac:spMk id="21" creationId="{97484700-38C9-49CC-AFE3-401E5C2E2E73}"/>
          </ac:spMkLst>
        </pc:spChg>
      </pc:sldChg>
      <pc:sldChg chg="modSp mod">
        <pc:chgData name="Bard, Jim" userId="ccb1f99f-f207-4b10-a60c-07845af988f2" providerId="ADAL" clId="{3E0EC89F-1EE1-4F1B-8C41-13EA09C4CE79}" dt="2021-02-09T19:12:56.533" v="831" actId="6549"/>
        <pc:sldMkLst>
          <pc:docMk/>
          <pc:sldMk cId="552563287" sldId="2076137388"/>
        </pc:sldMkLst>
        <pc:spChg chg="mod">
          <ac:chgData name="Bard, Jim" userId="ccb1f99f-f207-4b10-a60c-07845af988f2" providerId="ADAL" clId="{3E0EC89F-1EE1-4F1B-8C41-13EA09C4CE79}" dt="2021-02-09T19:12:56.533" v="831" actId="6549"/>
          <ac:spMkLst>
            <pc:docMk/>
            <pc:sldMk cId="552563287" sldId="2076137388"/>
            <ac:spMk id="21" creationId="{97484700-38C9-49CC-AFE3-401E5C2E2E73}"/>
          </ac:spMkLst>
        </pc:spChg>
      </pc:sldChg>
      <pc:sldChg chg="modSp mod">
        <pc:chgData name="Bard, Jim" userId="ccb1f99f-f207-4b10-a60c-07845af988f2" providerId="ADAL" clId="{3E0EC89F-1EE1-4F1B-8C41-13EA09C4CE79}" dt="2021-02-09T19:19:00.110" v="926" actId="20577"/>
        <pc:sldMkLst>
          <pc:docMk/>
          <pc:sldMk cId="414200059" sldId="2076137389"/>
        </pc:sldMkLst>
        <pc:spChg chg="mod">
          <ac:chgData name="Bard, Jim" userId="ccb1f99f-f207-4b10-a60c-07845af988f2" providerId="ADAL" clId="{3E0EC89F-1EE1-4F1B-8C41-13EA09C4CE79}" dt="2021-02-09T19:19:00.110" v="926" actId="20577"/>
          <ac:spMkLst>
            <pc:docMk/>
            <pc:sldMk cId="414200059" sldId="2076137389"/>
            <ac:spMk id="21" creationId="{97484700-38C9-49CC-AFE3-401E5C2E2E73}"/>
          </ac:spMkLst>
        </pc:spChg>
      </pc:sldChg>
      <pc:sldChg chg="modSp mod">
        <pc:chgData name="Bard, Jim" userId="ccb1f99f-f207-4b10-a60c-07845af988f2" providerId="ADAL" clId="{3E0EC89F-1EE1-4F1B-8C41-13EA09C4CE79}" dt="2021-02-09T19:13:41.606" v="835" actId="6549"/>
        <pc:sldMkLst>
          <pc:docMk/>
          <pc:sldMk cId="2034733267" sldId="2076137390"/>
        </pc:sldMkLst>
        <pc:spChg chg="mod">
          <ac:chgData name="Bard, Jim" userId="ccb1f99f-f207-4b10-a60c-07845af988f2" providerId="ADAL" clId="{3E0EC89F-1EE1-4F1B-8C41-13EA09C4CE79}" dt="2021-02-09T19:13:41.606" v="835" actId="6549"/>
          <ac:spMkLst>
            <pc:docMk/>
            <pc:sldMk cId="2034733267" sldId="2076137390"/>
            <ac:spMk id="21" creationId="{97484700-38C9-49CC-AFE3-401E5C2E2E73}"/>
          </ac:spMkLst>
        </pc:spChg>
      </pc:sldChg>
      <pc:sldChg chg="modSp mod">
        <pc:chgData name="Bard, Jim" userId="ccb1f99f-f207-4b10-a60c-07845af988f2" providerId="ADAL" clId="{3E0EC89F-1EE1-4F1B-8C41-13EA09C4CE79}" dt="2021-02-09T19:14:02.469" v="836" actId="6549"/>
        <pc:sldMkLst>
          <pc:docMk/>
          <pc:sldMk cId="335893083" sldId="2076137391"/>
        </pc:sldMkLst>
        <pc:spChg chg="mod">
          <ac:chgData name="Bard, Jim" userId="ccb1f99f-f207-4b10-a60c-07845af988f2" providerId="ADAL" clId="{3E0EC89F-1EE1-4F1B-8C41-13EA09C4CE79}" dt="2021-02-09T19:14:02.469" v="836" actId="6549"/>
          <ac:spMkLst>
            <pc:docMk/>
            <pc:sldMk cId="335893083" sldId="2076137391"/>
            <ac:spMk id="21" creationId="{97484700-38C9-49CC-AFE3-401E5C2E2E73}"/>
          </ac:spMkLst>
        </pc:spChg>
      </pc:sldChg>
      <pc:sldChg chg="delSp modSp mod">
        <pc:chgData name="Bard, Jim" userId="ccb1f99f-f207-4b10-a60c-07845af988f2" providerId="ADAL" clId="{3E0EC89F-1EE1-4F1B-8C41-13EA09C4CE79}" dt="2021-02-09T20:54:59.112" v="960" actId="20577"/>
        <pc:sldMkLst>
          <pc:docMk/>
          <pc:sldMk cId="3769856173" sldId="2076137394"/>
        </pc:sldMkLst>
        <pc:spChg chg="del">
          <ac:chgData name="Bard, Jim" userId="ccb1f99f-f207-4b10-a60c-07845af988f2" providerId="ADAL" clId="{3E0EC89F-1EE1-4F1B-8C41-13EA09C4CE79}" dt="2021-02-09T19:09:51.945" v="742" actId="478"/>
          <ac:spMkLst>
            <pc:docMk/>
            <pc:sldMk cId="3769856173" sldId="2076137394"/>
            <ac:spMk id="5" creationId="{BADEDF88-32FC-4856-AE87-DB351D2708C1}"/>
          </ac:spMkLst>
        </pc:spChg>
        <pc:spChg chg="mod">
          <ac:chgData name="Bard, Jim" userId="ccb1f99f-f207-4b10-a60c-07845af988f2" providerId="ADAL" clId="{3E0EC89F-1EE1-4F1B-8C41-13EA09C4CE79}" dt="2021-02-09T20:54:59.112" v="960" actId="20577"/>
          <ac:spMkLst>
            <pc:docMk/>
            <pc:sldMk cId="3769856173" sldId="2076137394"/>
            <ac:spMk id="6" creationId="{DD44C1A4-CC9D-4A4B-B32B-18DEC47A3A50}"/>
          </ac:spMkLst>
        </pc:spChg>
      </pc:sldChg>
      <pc:sldMasterChg chg="modSldLayout">
        <pc:chgData name="Bard, Jim" userId="ccb1f99f-f207-4b10-a60c-07845af988f2" providerId="ADAL" clId="{3E0EC89F-1EE1-4F1B-8C41-13EA09C4CE79}" dt="2021-02-09T19:20:10.628" v="928" actId="20577"/>
        <pc:sldMasterMkLst>
          <pc:docMk/>
          <pc:sldMasterMk cId="2460954070" sldId="2147483660"/>
        </pc:sldMasterMkLst>
        <pc:sldLayoutChg chg="modSp mod">
          <pc:chgData name="Bard, Jim" userId="ccb1f99f-f207-4b10-a60c-07845af988f2" providerId="ADAL" clId="{3E0EC89F-1EE1-4F1B-8C41-13EA09C4CE79}" dt="2021-02-09T19:20:10.628" v="928" actId="20577"/>
          <pc:sldLayoutMkLst>
            <pc:docMk/>
            <pc:sldMasterMk cId="2460954070" sldId="2147483660"/>
            <pc:sldLayoutMk cId="3416960409" sldId="2147483672"/>
          </pc:sldLayoutMkLst>
          <pc:spChg chg="mod">
            <ac:chgData name="Bard, Jim" userId="ccb1f99f-f207-4b10-a60c-07845af988f2" providerId="ADAL" clId="{3E0EC89F-1EE1-4F1B-8C41-13EA09C4CE79}" dt="2021-02-09T19:20:10.628" v="928" actId="20577"/>
            <ac:spMkLst>
              <pc:docMk/>
              <pc:sldMasterMk cId="2460954070" sldId="2147483660"/>
              <pc:sldLayoutMk cId="3416960409" sldId="2147483672"/>
              <ac:spMk id="8" creationId="{63BB1A73-F8CA-4636-8FEE-67C82F65B85B}"/>
            </ac:spMkLst>
          </pc:spChg>
        </pc:sldLayoutChg>
        <pc:sldLayoutChg chg="modSp mod">
          <pc:chgData name="Bard, Jim" userId="ccb1f99f-f207-4b10-a60c-07845af988f2" providerId="ADAL" clId="{3E0EC89F-1EE1-4F1B-8C41-13EA09C4CE79}" dt="2021-02-09T19:20:02.867" v="927" actId="6549"/>
          <pc:sldLayoutMkLst>
            <pc:docMk/>
            <pc:sldMasterMk cId="2460954070" sldId="2147483660"/>
            <pc:sldLayoutMk cId="106739769" sldId="2147483676"/>
          </pc:sldLayoutMkLst>
          <pc:spChg chg="mod">
            <ac:chgData name="Bard, Jim" userId="ccb1f99f-f207-4b10-a60c-07845af988f2" providerId="ADAL" clId="{3E0EC89F-1EE1-4F1B-8C41-13EA09C4CE79}" dt="2021-02-09T19:20:02.867" v="927" actId="6549"/>
            <ac:spMkLst>
              <pc:docMk/>
              <pc:sldMasterMk cId="2460954070" sldId="2147483660"/>
              <pc:sldLayoutMk cId="106739769" sldId="2147483676"/>
              <ac:spMk id="8" creationId="{63BB1A73-F8CA-4636-8FEE-67C82F65B85B}"/>
            </ac:spMkLst>
          </pc:spChg>
        </pc:sldLayoutChg>
      </pc:sldMasterChg>
    </pc:docChg>
  </pc:docChgLst>
  <pc:docChgLst>
    <pc:chgData clId="Web-{342B461D-F9AA-A964-BB72-7F66B5B48B1D}"/>
    <pc:docChg chg="delSld modSld">
      <pc:chgData name="" userId="" providerId="" clId="Web-{342B461D-F9AA-A964-BB72-7F66B5B48B1D}" dt="2021-01-27T15:25:49.836" v="191" actId="1076"/>
      <pc:docMkLst>
        <pc:docMk/>
      </pc:docMkLst>
      <pc:sldChg chg="del">
        <pc:chgData name="" userId="" providerId="" clId="Web-{342B461D-F9AA-A964-BB72-7F66B5B48B1D}" dt="2021-01-27T15:02:09.990" v="69"/>
        <pc:sldMkLst>
          <pc:docMk/>
          <pc:sldMk cId="1680110153" sldId="9025"/>
        </pc:sldMkLst>
      </pc:sldChg>
      <pc:sldChg chg="addSp modSp">
        <pc:chgData name="" userId="" providerId="" clId="Web-{342B461D-F9AA-A964-BB72-7F66B5B48B1D}" dt="2021-01-27T15:25:49.836" v="191" actId="1076"/>
        <pc:sldMkLst>
          <pc:docMk/>
          <pc:sldMk cId="24598589" sldId="9040"/>
        </pc:sldMkLst>
        <pc:spChg chg="mod">
          <ac:chgData name="" userId="" providerId="" clId="Web-{342B461D-F9AA-A964-BB72-7F66B5B48B1D}" dt="2021-01-27T14:54:35.828" v="35" actId="20577"/>
          <ac:spMkLst>
            <pc:docMk/>
            <pc:sldMk cId="24598589" sldId="9040"/>
            <ac:spMk id="2" creationId="{BC00BD3B-220C-784F-A2E2-B8BF525AC13A}"/>
          </ac:spMkLst>
        </pc:spChg>
        <pc:spChg chg="mod">
          <ac:chgData name="" userId="" providerId="" clId="Web-{342B461D-F9AA-A964-BB72-7F66B5B48B1D}" dt="2021-01-27T14:54:41.625" v="38" actId="20577"/>
          <ac:spMkLst>
            <pc:docMk/>
            <pc:sldMk cId="24598589" sldId="9040"/>
            <ac:spMk id="3" creationId="{7F47A66F-7D6D-6042-A4EB-AF4CAEA86DDB}"/>
          </ac:spMkLst>
        </pc:spChg>
        <pc:spChg chg="add mod">
          <ac:chgData name="" userId="" providerId="" clId="Web-{342B461D-F9AA-A964-BB72-7F66B5B48B1D}" dt="2021-01-27T14:55:05.141" v="49" actId="1076"/>
          <ac:spMkLst>
            <pc:docMk/>
            <pc:sldMk cId="24598589" sldId="9040"/>
            <ac:spMk id="4" creationId="{E254FB21-696D-4690-BA3F-8FFD2263E862}"/>
          </ac:spMkLst>
        </pc:spChg>
        <pc:spChg chg="mod">
          <ac:chgData name="" userId="" providerId="" clId="Web-{342B461D-F9AA-A964-BB72-7F66B5B48B1D}" dt="2021-01-27T15:25:49.836" v="191" actId="1076"/>
          <ac:spMkLst>
            <pc:docMk/>
            <pc:sldMk cId="24598589" sldId="9040"/>
            <ac:spMk id="15" creationId="{223C3761-22F5-CA44-A519-D3DF7B18CD73}"/>
          </ac:spMkLst>
        </pc:spChg>
      </pc:sldChg>
      <pc:sldChg chg="modSp">
        <pc:chgData name="" userId="" providerId="" clId="Web-{342B461D-F9AA-A964-BB72-7F66B5B48B1D}" dt="2021-01-27T15:03:49.647" v="189" actId="20577"/>
        <pc:sldMkLst>
          <pc:docMk/>
          <pc:sldMk cId="450641459" sldId="9071"/>
        </pc:sldMkLst>
        <pc:spChg chg="mod">
          <ac:chgData name="" userId="" providerId="" clId="Web-{342B461D-F9AA-A964-BB72-7F66B5B48B1D}" dt="2021-01-27T15:03:49.647" v="189" actId="20577"/>
          <ac:spMkLst>
            <pc:docMk/>
            <pc:sldMk cId="450641459" sldId="9071"/>
            <ac:spMk id="6" creationId="{DD44C1A4-CC9D-4A4B-B32B-18DEC47A3A50}"/>
          </ac:spMkLst>
        </pc:spChg>
      </pc:sldChg>
      <pc:sldChg chg="del">
        <pc:chgData name="" userId="" providerId="" clId="Web-{342B461D-F9AA-A964-BB72-7F66B5B48B1D}" dt="2021-01-27T15:02:09.959" v="67"/>
        <pc:sldMkLst>
          <pc:docMk/>
          <pc:sldMk cId="3410061372" sldId="9073"/>
        </pc:sldMkLst>
      </pc:sldChg>
      <pc:sldChg chg="del">
        <pc:chgData name="" userId="" providerId="" clId="Web-{342B461D-F9AA-A964-BB72-7F66B5B48B1D}" dt="2021-01-27T15:02:09.974" v="68"/>
        <pc:sldMkLst>
          <pc:docMk/>
          <pc:sldMk cId="290576593" sldId="9077"/>
        </pc:sldMkLst>
      </pc:sldChg>
      <pc:sldChg chg="modSp">
        <pc:chgData name="" userId="" providerId="" clId="Web-{342B461D-F9AA-A964-BB72-7F66B5B48B1D}" dt="2021-01-27T15:03:14.147" v="151" actId="20577"/>
        <pc:sldMkLst>
          <pc:docMk/>
          <pc:sldMk cId="1447221636" sldId="9079"/>
        </pc:sldMkLst>
        <pc:spChg chg="mod">
          <ac:chgData name="" userId="" providerId="" clId="Web-{342B461D-F9AA-A964-BB72-7F66B5B48B1D}" dt="2021-01-27T15:02:30.974" v="89" actId="20577"/>
          <ac:spMkLst>
            <pc:docMk/>
            <pc:sldMk cId="1447221636" sldId="9079"/>
            <ac:spMk id="8" creationId="{62CA0B21-B744-FE43-A932-81C21120730C}"/>
          </ac:spMkLst>
        </pc:spChg>
        <pc:spChg chg="mod">
          <ac:chgData name="" userId="" providerId="" clId="Web-{342B461D-F9AA-A964-BB72-7F66B5B48B1D}" dt="2021-01-27T15:02:22.037" v="72" actId="20577"/>
          <ac:spMkLst>
            <pc:docMk/>
            <pc:sldMk cId="1447221636" sldId="9079"/>
            <ac:spMk id="16" creationId="{F82660D4-174E-494B-8138-62CC2BD92056}"/>
          </ac:spMkLst>
        </pc:spChg>
        <pc:spChg chg="mod">
          <ac:chgData name="" userId="" providerId="" clId="Web-{342B461D-F9AA-A964-BB72-7F66B5B48B1D}" dt="2021-01-27T15:03:14.147" v="151" actId="20577"/>
          <ac:spMkLst>
            <pc:docMk/>
            <pc:sldMk cId="1447221636" sldId="9079"/>
            <ac:spMk id="21" creationId="{97484700-38C9-49CC-AFE3-401E5C2E2E73}"/>
          </ac:spMkLst>
        </pc:spChg>
      </pc:sldChg>
      <pc:sldChg chg="del">
        <pc:chgData name="" userId="" providerId="" clId="Web-{342B461D-F9AA-A964-BB72-7F66B5B48B1D}" dt="2021-01-27T15:02:09.911" v="65"/>
        <pc:sldMkLst>
          <pc:docMk/>
          <pc:sldMk cId="3689920539" sldId="9080"/>
        </pc:sldMkLst>
      </pc:sldChg>
      <pc:sldChg chg="del">
        <pc:chgData name="" userId="" providerId="" clId="Web-{342B461D-F9AA-A964-BB72-7F66B5B48B1D}" dt="2021-01-27T15:02:10.005" v="70"/>
        <pc:sldMkLst>
          <pc:docMk/>
          <pc:sldMk cId="4221721598" sldId="9082"/>
        </pc:sldMkLst>
      </pc:sldChg>
      <pc:sldChg chg="del">
        <pc:chgData name="" userId="" providerId="" clId="Web-{342B461D-F9AA-A964-BB72-7F66B5B48B1D}" dt="2021-01-27T15:02:09.740" v="58"/>
        <pc:sldMkLst>
          <pc:docMk/>
          <pc:sldMk cId="3090772139" sldId="9083"/>
        </pc:sldMkLst>
      </pc:sldChg>
      <pc:sldChg chg="del">
        <pc:chgData name="" userId="" providerId="" clId="Web-{342B461D-F9AA-A964-BB72-7F66B5B48B1D}" dt="2021-01-27T15:02:09.724" v="57"/>
        <pc:sldMkLst>
          <pc:docMk/>
          <pc:sldMk cId="3573033776" sldId="9084"/>
        </pc:sldMkLst>
      </pc:sldChg>
      <pc:sldChg chg="del">
        <pc:chgData name="" userId="" providerId="" clId="Web-{342B461D-F9AA-A964-BB72-7F66B5B48B1D}" dt="2021-01-27T15:02:09.693" v="56"/>
        <pc:sldMkLst>
          <pc:docMk/>
          <pc:sldMk cId="1463238963" sldId="9085"/>
        </pc:sldMkLst>
      </pc:sldChg>
      <pc:sldChg chg="del">
        <pc:chgData name="" userId="" providerId="" clId="Web-{342B461D-F9AA-A964-BB72-7F66B5B48B1D}" dt="2021-01-27T15:02:09.927" v="66"/>
        <pc:sldMkLst>
          <pc:docMk/>
          <pc:sldMk cId="4061875080" sldId="9090"/>
        </pc:sldMkLst>
      </pc:sldChg>
      <pc:sldChg chg="del">
        <pc:chgData name="" userId="" providerId="" clId="Web-{342B461D-F9AA-A964-BB72-7F66B5B48B1D}" dt="2021-01-27T15:02:09.833" v="63"/>
        <pc:sldMkLst>
          <pc:docMk/>
          <pc:sldMk cId="3022744174" sldId="2076137381"/>
        </pc:sldMkLst>
      </pc:sldChg>
      <pc:sldChg chg="del">
        <pc:chgData name="" userId="" providerId="" clId="Web-{342B461D-F9AA-A964-BB72-7F66B5B48B1D}" dt="2021-01-27T15:02:09.802" v="62"/>
        <pc:sldMkLst>
          <pc:docMk/>
          <pc:sldMk cId="912006769" sldId="2076137382"/>
        </pc:sldMkLst>
      </pc:sldChg>
      <pc:sldChg chg="del">
        <pc:chgData name="" userId="" providerId="" clId="Web-{342B461D-F9AA-A964-BB72-7F66B5B48B1D}" dt="2021-01-27T15:02:09.786" v="61"/>
        <pc:sldMkLst>
          <pc:docMk/>
          <pc:sldMk cId="2380527532" sldId="2076137383"/>
        </pc:sldMkLst>
      </pc:sldChg>
      <pc:sldChg chg="del">
        <pc:chgData name="" userId="" providerId="" clId="Web-{342B461D-F9AA-A964-BB72-7F66B5B48B1D}" dt="2021-01-27T15:02:09.771" v="60"/>
        <pc:sldMkLst>
          <pc:docMk/>
          <pc:sldMk cId="3153369107" sldId="2076137384"/>
        </pc:sldMkLst>
      </pc:sldChg>
      <pc:sldChg chg="del">
        <pc:chgData name="" userId="" providerId="" clId="Web-{342B461D-F9AA-A964-BB72-7F66B5B48B1D}" dt="2021-01-27T15:02:09.755" v="59"/>
        <pc:sldMkLst>
          <pc:docMk/>
          <pc:sldMk cId="3446458421" sldId="2076137385"/>
        </pc:sldMkLst>
      </pc:sldChg>
      <pc:sldChg chg="del">
        <pc:chgData name="" userId="" providerId="" clId="Web-{342B461D-F9AA-A964-BB72-7F66B5B48B1D}" dt="2021-01-27T15:02:09.880" v="64"/>
        <pc:sldMkLst>
          <pc:docMk/>
          <pc:sldMk cId="2223772947" sldId="2076137388"/>
        </pc:sldMkLst>
      </pc:sldChg>
      <pc:sldChg chg="del">
        <pc:chgData name="" userId="" providerId="" clId="Web-{342B461D-F9AA-A964-BB72-7F66B5B48B1D}" dt="2021-01-27T15:02:09.646" v="53"/>
        <pc:sldMkLst>
          <pc:docMk/>
          <pc:sldMk cId="4280711447" sldId="2076137392"/>
        </pc:sldMkLst>
      </pc:sldChg>
      <pc:sldChg chg="del">
        <pc:chgData name="" userId="" providerId="" clId="Web-{342B461D-F9AA-A964-BB72-7F66B5B48B1D}" dt="2021-01-27T15:02:09.630" v="52"/>
        <pc:sldMkLst>
          <pc:docMk/>
          <pc:sldMk cId="4149359427" sldId="2076137393"/>
        </pc:sldMkLst>
      </pc:sldChg>
      <pc:sldChg chg="del">
        <pc:chgData name="" userId="" providerId="" clId="Web-{342B461D-F9AA-A964-BB72-7F66B5B48B1D}" dt="2021-01-27T15:02:09.615" v="51"/>
        <pc:sldMkLst>
          <pc:docMk/>
          <pc:sldMk cId="2461911301" sldId="2076137394"/>
        </pc:sldMkLst>
      </pc:sldChg>
      <pc:sldChg chg="del">
        <pc:chgData name="" userId="" providerId="" clId="Web-{342B461D-F9AA-A964-BB72-7F66B5B48B1D}" dt="2021-01-27T15:02:09.583" v="50"/>
        <pc:sldMkLst>
          <pc:docMk/>
          <pc:sldMk cId="1877731293" sldId="2076137395"/>
        </pc:sldMkLst>
      </pc:sldChg>
      <pc:sldChg chg="del">
        <pc:chgData name="" userId="" providerId="" clId="Web-{342B461D-F9AA-A964-BB72-7F66B5B48B1D}" dt="2021-01-27T15:02:09.677" v="55"/>
        <pc:sldMkLst>
          <pc:docMk/>
          <pc:sldMk cId="394115506" sldId="2076137396"/>
        </pc:sldMkLst>
      </pc:sldChg>
      <pc:sldChg chg="del">
        <pc:chgData name="" userId="" providerId="" clId="Web-{342B461D-F9AA-A964-BB72-7F66B5B48B1D}" dt="2021-01-27T15:02:09.661" v="54"/>
        <pc:sldMkLst>
          <pc:docMk/>
          <pc:sldMk cId="661181821" sldId="2076137397"/>
        </pc:sldMkLst>
      </pc:sldChg>
    </pc:docChg>
  </pc:docChgLst>
  <pc:docChgLst>
    <pc:chgData clId="Web-{AE867141-7CCA-44BE-80E4-75DA6180F448}"/>
    <pc:docChg chg="modSld">
      <pc:chgData name="" userId="" providerId="" clId="Web-{AE867141-7CCA-44BE-80E4-75DA6180F448}" dt="2021-01-28T16:21:17.381" v="3"/>
      <pc:docMkLst>
        <pc:docMk/>
      </pc:docMkLst>
      <pc:sldChg chg="modSp">
        <pc:chgData name="" userId="" providerId="" clId="Web-{AE867141-7CCA-44BE-80E4-75DA6180F448}" dt="2021-01-28T16:21:17.381" v="3"/>
        <pc:sldMkLst>
          <pc:docMk/>
          <pc:sldMk cId="3123279992" sldId="9070"/>
        </pc:sldMkLst>
        <pc:graphicFrameChg chg="mod modGraphic">
          <ac:chgData name="" userId="" providerId="" clId="Web-{AE867141-7CCA-44BE-80E4-75DA6180F448}" dt="2021-01-28T16:21:17.381" v="3"/>
          <ac:graphicFrameMkLst>
            <pc:docMk/>
            <pc:sldMk cId="3123279992" sldId="9070"/>
            <ac:graphicFrameMk id="6" creationId="{78B1BD31-3AF9-4B81-93FC-7241460106EA}"/>
          </ac:graphicFrameMkLst>
        </pc:graphicFrameChg>
      </pc:sldChg>
    </pc:docChg>
  </pc:docChgLst>
  <pc:docChgLst>
    <pc:chgData name="Crystel Leonidas" userId="4c0ff1e3-c20c-42ea-85f9-0bda986f3971" providerId="ADAL" clId="{9CAAD234-9157-4FDD-861F-A3F8750827CE}"/>
    <pc:docChg chg="custSel modSld">
      <pc:chgData name="Crystel Leonidas" userId="4c0ff1e3-c20c-42ea-85f9-0bda986f3971" providerId="ADAL" clId="{9CAAD234-9157-4FDD-861F-A3F8750827CE}" dt="2021-02-02T19:18:15.801" v="245" actId="20577"/>
      <pc:docMkLst>
        <pc:docMk/>
      </pc:docMkLst>
      <pc:sldChg chg="modSp">
        <pc:chgData name="Crystel Leonidas" userId="4c0ff1e3-c20c-42ea-85f9-0bda986f3971" providerId="ADAL" clId="{9CAAD234-9157-4FDD-861F-A3F8750827CE}" dt="2021-01-28T20:05:08.610" v="26" actId="1076"/>
        <pc:sldMkLst>
          <pc:docMk/>
          <pc:sldMk cId="24598589" sldId="9040"/>
        </pc:sldMkLst>
        <pc:spChg chg="mod">
          <ac:chgData name="Crystel Leonidas" userId="4c0ff1e3-c20c-42ea-85f9-0bda986f3971" providerId="ADAL" clId="{9CAAD234-9157-4FDD-861F-A3F8750827CE}" dt="2021-01-28T20:05:08.610" v="26" actId="1076"/>
          <ac:spMkLst>
            <pc:docMk/>
            <pc:sldMk cId="24598589" sldId="9040"/>
            <ac:spMk id="2" creationId="{BC00BD3B-220C-784F-A2E2-B8BF525AC13A}"/>
          </ac:spMkLst>
        </pc:spChg>
      </pc:sldChg>
      <pc:sldChg chg="delCm">
        <pc:chgData name="Crystel Leonidas" userId="4c0ff1e3-c20c-42ea-85f9-0bda986f3971" providerId="ADAL" clId="{9CAAD234-9157-4FDD-861F-A3F8750827CE}" dt="2021-01-28T20:12:47.487" v="240" actId="1592"/>
        <pc:sldMkLst>
          <pc:docMk/>
          <pc:sldMk cId="2991782893" sldId="9075"/>
        </pc:sldMkLst>
      </pc:sldChg>
      <pc:sldChg chg="modSp">
        <pc:chgData name="Crystel Leonidas" userId="4c0ff1e3-c20c-42ea-85f9-0bda986f3971" providerId="ADAL" clId="{9CAAD234-9157-4FDD-861F-A3F8750827CE}" dt="2021-01-28T20:09:06.883" v="140" actId="20577"/>
        <pc:sldMkLst>
          <pc:docMk/>
          <pc:sldMk cId="494369478" sldId="9087"/>
        </pc:sldMkLst>
        <pc:spChg chg="mod">
          <ac:chgData name="Crystel Leonidas" userId="4c0ff1e3-c20c-42ea-85f9-0bda986f3971" providerId="ADAL" clId="{9CAAD234-9157-4FDD-861F-A3F8750827CE}" dt="2021-01-28T20:09:06.883" v="140" actId="20577"/>
          <ac:spMkLst>
            <pc:docMk/>
            <pc:sldMk cId="494369478" sldId="9087"/>
            <ac:spMk id="21" creationId="{97484700-38C9-49CC-AFE3-401E5C2E2E73}"/>
          </ac:spMkLst>
        </pc:spChg>
      </pc:sldChg>
      <pc:sldChg chg="modSp delCm">
        <pc:chgData name="Crystel Leonidas" userId="4c0ff1e3-c20c-42ea-85f9-0bda986f3971" providerId="ADAL" clId="{9CAAD234-9157-4FDD-861F-A3F8750827CE}" dt="2021-02-02T19:18:15.801" v="245" actId="20577"/>
        <pc:sldMkLst>
          <pc:docMk/>
          <pc:sldMk cId="3598891342" sldId="2076137379"/>
        </pc:sldMkLst>
        <pc:spChg chg="mod">
          <ac:chgData name="Crystel Leonidas" userId="4c0ff1e3-c20c-42ea-85f9-0bda986f3971" providerId="ADAL" clId="{9CAAD234-9157-4FDD-861F-A3F8750827CE}" dt="2021-02-02T19:18:15.801" v="245" actId="20577"/>
          <ac:spMkLst>
            <pc:docMk/>
            <pc:sldMk cId="3598891342" sldId="2076137379"/>
            <ac:spMk id="21" creationId="{C7140DB9-EA02-43CF-A667-A4695DFFCE48}"/>
          </ac:spMkLst>
        </pc:spChg>
        <pc:spChg chg="mod">
          <ac:chgData name="Crystel Leonidas" userId="4c0ff1e3-c20c-42ea-85f9-0bda986f3971" providerId="ADAL" clId="{9CAAD234-9157-4FDD-861F-A3F8750827CE}" dt="2021-01-28T20:06:55.119" v="79" actId="20577"/>
          <ac:spMkLst>
            <pc:docMk/>
            <pc:sldMk cId="3598891342" sldId="2076137379"/>
            <ac:spMk id="22" creationId="{375F6CD6-F02B-4AB6-9178-6F61338A2F9B}"/>
          </ac:spMkLst>
        </pc:spChg>
      </pc:sldChg>
      <pc:sldChg chg="modSp">
        <pc:chgData name="Crystel Leonidas" userId="4c0ff1e3-c20c-42ea-85f9-0bda986f3971" providerId="ADAL" clId="{9CAAD234-9157-4FDD-861F-A3F8750827CE}" dt="2021-01-28T20:11:21.172" v="239" actId="20577"/>
        <pc:sldMkLst>
          <pc:docMk/>
          <pc:sldMk cId="414200059" sldId="2076137389"/>
        </pc:sldMkLst>
        <pc:spChg chg="mod">
          <ac:chgData name="Crystel Leonidas" userId="4c0ff1e3-c20c-42ea-85f9-0bda986f3971" providerId="ADAL" clId="{9CAAD234-9157-4FDD-861F-A3F8750827CE}" dt="2021-01-28T20:11:21.172" v="239" actId="20577"/>
          <ac:spMkLst>
            <pc:docMk/>
            <pc:sldMk cId="414200059" sldId="2076137389"/>
            <ac:spMk id="21" creationId="{97484700-38C9-49CC-AFE3-401E5C2E2E73}"/>
          </ac:spMkLst>
        </pc:spChg>
      </pc:sldChg>
    </pc:docChg>
  </pc:docChgLst>
  <pc:docChgLst>
    <pc:chgData name="Gracie A Chewning" userId="9de9d667-e019-4a85-82bf-b9f50f141a0d" providerId="ADAL" clId="{774EC3AF-193C-47FC-A3B0-D308EE2F154F}"/>
    <pc:docChg chg="undo custSel addSld delSld modSld">
      <pc:chgData name="Gracie A Chewning" userId="9de9d667-e019-4a85-82bf-b9f50f141a0d" providerId="ADAL" clId="{774EC3AF-193C-47FC-A3B0-D308EE2F154F}" dt="2021-01-27T21:29:09.153" v="1892" actId="1076"/>
      <pc:docMkLst>
        <pc:docMk/>
      </pc:docMkLst>
      <pc:sldChg chg="addSp modSp">
        <pc:chgData name="Gracie A Chewning" userId="9de9d667-e019-4a85-82bf-b9f50f141a0d" providerId="ADAL" clId="{774EC3AF-193C-47FC-A3B0-D308EE2F154F}" dt="2021-01-27T21:18:22.695" v="1577" actId="403"/>
        <pc:sldMkLst>
          <pc:docMk/>
          <pc:sldMk cId="1447221636" sldId="9079"/>
        </pc:sldMkLst>
        <pc:spChg chg="add mod">
          <ac:chgData name="Gracie A Chewning" userId="9de9d667-e019-4a85-82bf-b9f50f141a0d" providerId="ADAL" clId="{774EC3AF-193C-47FC-A3B0-D308EE2F154F}" dt="2021-01-27T21:17:38.367" v="1569" actId="13926"/>
          <ac:spMkLst>
            <pc:docMk/>
            <pc:sldMk cId="1447221636" sldId="9079"/>
            <ac:spMk id="13" creationId="{512C98CA-0CF8-4EA9-A3B6-4D0C2F533E60}"/>
          </ac:spMkLst>
        </pc:spChg>
        <pc:spChg chg="mod">
          <ac:chgData name="Gracie A Chewning" userId="9de9d667-e019-4a85-82bf-b9f50f141a0d" providerId="ADAL" clId="{774EC3AF-193C-47FC-A3B0-D308EE2F154F}" dt="2021-01-27T21:18:22.695" v="1577" actId="403"/>
          <ac:spMkLst>
            <pc:docMk/>
            <pc:sldMk cId="1447221636" sldId="9079"/>
            <ac:spMk id="21" creationId="{97484700-38C9-49CC-AFE3-401E5C2E2E73}"/>
          </ac:spMkLst>
        </pc:spChg>
        <pc:picChg chg="mod">
          <ac:chgData name="Gracie A Chewning" userId="9de9d667-e019-4a85-82bf-b9f50f141a0d" providerId="ADAL" clId="{774EC3AF-193C-47FC-A3B0-D308EE2F154F}" dt="2021-01-27T21:15:30.897" v="1512" actId="1076"/>
          <ac:picMkLst>
            <pc:docMk/>
            <pc:sldMk cId="1447221636" sldId="9079"/>
            <ac:picMk id="8219" creationId="{C1571F65-432E-40B2-ABA0-D994F289E037}"/>
          </ac:picMkLst>
        </pc:picChg>
      </pc:sldChg>
      <pc:sldChg chg="modSp">
        <pc:chgData name="Gracie A Chewning" userId="9de9d667-e019-4a85-82bf-b9f50f141a0d" providerId="ADAL" clId="{774EC3AF-193C-47FC-A3B0-D308EE2F154F}" dt="2021-01-27T21:20:11.228" v="1590" actId="20577"/>
        <pc:sldMkLst>
          <pc:docMk/>
          <pc:sldMk cId="494369478" sldId="9087"/>
        </pc:sldMkLst>
        <pc:spChg chg="mod">
          <ac:chgData name="Gracie A Chewning" userId="9de9d667-e019-4a85-82bf-b9f50f141a0d" providerId="ADAL" clId="{774EC3AF-193C-47FC-A3B0-D308EE2F154F}" dt="2021-01-27T19:40:45.335" v="11" actId="113"/>
          <ac:spMkLst>
            <pc:docMk/>
            <pc:sldMk cId="494369478" sldId="9087"/>
            <ac:spMk id="16" creationId="{F82660D4-174E-494B-8138-62CC2BD92056}"/>
          </ac:spMkLst>
        </pc:spChg>
        <pc:spChg chg="mod">
          <ac:chgData name="Gracie A Chewning" userId="9de9d667-e019-4a85-82bf-b9f50f141a0d" providerId="ADAL" clId="{774EC3AF-193C-47FC-A3B0-D308EE2F154F}" dt="2021-01-27T21:20:11.228" v="1590" actId="20577"/>
          <ac:spMkLst>
            <pc:docMk/>
            <pc:sldMk cId="494369478" sldId="9087"/>
            <ac:spMk id="21" creationId="{97484700-38C9-49CC-AFE3-401E5C2E2E73}"/>
          </ac:spMkLst>
        </pc:spChg>
        <pc:picChg chg="mod">
          <ac:chgData name="Gracie A Chewning" userId="9de9d667-e019-4a85-82bf-b9f50f141a0d" providerId="ADAL" clId="{774EC3AF-193C-47FC-A3B0-D308EE2F154F}" dt="2021-01-27T21:18:38.312" v="1579" actId="1076"/>
          <ac:picMkLst>
            <pc:docMk/>
            <pc:sldMk cId="494369478" sldId="9087"/>
            <ac:picMk id="9243" creationId="{12F50947-16F6-4C5F-B48E-1C8D74BAC4C8}"/>
          </ac:picMkLst>
        </pc:picChg>
        <pc:picChg chg="mod">
          <ac:chgData name="Gracie A Chewning" userId="9de9d667-e019-4a85-82bf-b9f50f141a0d" providerId="ADAL" clId="{774EC3AF-193C-47FC-A3B0-D308EE2F154F}" dt="2021-01-27T21:18:41.523" v="1580" actId="1076"/>
          <ac:picMkLst>
            <pc:docMk/>
            <pc:sldMk cId="494369478" sldId="9087"/>
            <ac:picMk id="9245" creationId="{D906397F-4652-4F0B-871B-33EC61A70AD5}"/>
          </ac:picMkLst>
        </pc:picChg>
      </pc:sldChg>
      <pc:sldChg chg="addSp modSp">
        <pc:chgData name="Gracie A Chewning" userId="9de9d667-e019-4a85-82bf-b9f50f141a0d" providerId="ADAL" clId="{774EC3AF-193C-47FC-A3B0-D308EE2F154F}" dt="2021-01-27T21:27:43.285" v="1777" actId="113"/>
        <pc:sldMkLst>
          <pc:docMk/>
          <pc:sldMk cId="3443520972" sldId="9089"/>
        </pc:sldMkLst>
        <pc:spChg chg="mod">
          <ac:chgData name="Gracie A Chewning" userId="9de9d667-e019-4a85-82bf-b9f50f141a0d" providerId="ADAL" clId="{774EC3AF-193C-47FC-A3B0-D308EE2F154F}" dt="2021-01-27T21:27:43.285" v="1777" actId="113"/>
          <ac:spMkLst>
            <pc:docMk/>
            <pc:sldMk cId="3443520972" sldId="9089"/>
            <ac:spMk id="3" creationId="{1D1E0C3A-1DBD-45D0-96D2-91865BC9498E}"/>
          </ac:spMkLst>
        </pc:spChg>
        <pc:spChg chg="add mod">
          <ac:chgData name="Gracie A Chewning" userId="9de9d667-e019-4a85-82bf-b9f50f141a0d" providerId="ADAL" clId="{774EC3AF-193C-47FC-A3B0-D308EE2F154F}" dt="2021-01-27T21:27:11.088" v="1770" actId="20577"/>
          <ac:spMkLst>
            <pc:docMk/>
            <pc:sldMk cId="3443520972" sldId="9089"/>
            <ac:spMk id="15" creationId="{23D56470-45AA-48E0-90D9-8CC66AE7E6BD}"/>
          </ac:spMkLst>
        </pc:spChg>
        <pc:picChg chg="mod">
          <ac:chgData name="Gracie A Chewning" userId="9de9d667-e019-4a85-82bf-b9f50f141a0d" providerId="ADAL" clId="{774EC3AF-193C-47FC-A3B0-D308EE2F154F}" dt="2021-01-27T21:26:32.902" v="1702" actId="1076"/>
          <ac:picMkLst>
            <pc:docMk/>
            <pc:sldMk cId="3443520972" sldId="9089"/>
            <ac:picMk id="11291" creationId="{1F6D7D03-63C2-4706-A2E0-0BA48E3EF488}"/>
          </ac:picMkLst>
        </pc:picChg>
        <pc:picChg chg="mod">
          <ac:chgData name="Gracie A Chewning" userId="9de9d667-e019-4a85-82bf-b9f50f141a0d" providerId="ADAL" clId="{774EC3AF-193C-47FC-A3B0-D308EE2F154F}" dt="2021-01-27T21:26:35.773" v="1703" actId="1076"/>
          <ac:picMkLst>
            <pc:docMk/>
            <pc:sldMk cId="3443520972" sldId="9089"/>
            <ac:picMk id="11293" creationId="{A1AF28B0-F953-4CF0-B52A-0AD23200F3F9}"/>
          </ac:picMkLst>
        </pc:picChg>
      </pc:sldChg>
      <pc:sldChg chg="delSp modSp del">
        <pc:chgData name="Gracie A Chewning" userId="9de9d667-e019-4a85-82bf-b9f50f141a0d" providerId="ADAL" clId="{774EC3AF-193C-47FC-A3B0-D308EE2F154F}" dt="2021-01-27T19:57:57.929" v="286" actId="2696"/>
        <pc:sldMkLst>
          <pc:docMk/>
          <pc:sldMk cId="1789405769" sldId="2076137379"/>
        </pc:sldMkLst>
        <pc:spChg chg="del mod">
          <ac:chgData name="Gracie A Chewning" userId="9de9d667-e019-4a85-82bf-b9f50f141a0d" providerId="ADAL" clId="{774EC3AF-193C-47FC-A3B0-D308EE2F154F}" dt="2021-01-27T19:57:31.315" v="282" actId="478"/>
          <ac:spMkLst>
            <pc:docMk/>
            <pc:sldMk cId="1789405769" sldId="2076137379"/>
            <ac:spMk id="121" creationId="{4FAF0BC6-15DB-4921-B81D-9E5B2D8B98E1}"/>
          </ac:spMkLst>
        </pc:spChg>
        <pc:spChg chg="mod">
          <ac:chgData name="Gracie A Chewning" userId="9de9d667-e019-4a85-82bf-b9f50f141a0d" providerId="ADAL" clId="{774EC3AF-193C-47FC-A3B0-D308EE2F154F}" dt="2021-01-27T19:56:25.439" v="278" actId="20577"/>
          <ac:spMkLst>
            <pc:docMk/>
            <pc:sldMk cId="1789405769" sldId="2076137379"/>
            <ac:spMk id="124" creationId="{46ED309E-F59D-45A0-B1EE-99B4AA64F61D}"/>
          </ac:spMkLst>
        </pc:spChg>
      </pc:sldChg>
      <pc:sldChg chg="addSp delSp modSp">
        <pc:chgData name="Gracie A Chewning" userId="9de9d667-e019-4a85-82bf-b9f50f141a0d" providerId="ADAL" clId="{774EC3AF-193C-47FC-A3B0-D308EE2F154F}" dt="2021-01-27T20:36:39.455" v="1510" actId="20577"/>
        <pc:sldMkLst>
          <pc:docMk/>
          <pc:sldMk cId="3598891342" sldId="2076137379"/>
        </pc:sldMkLst>
        <pc:spChg chg="mod">
          <ac:chgData name="Gracie A Chewning" userId="9de9d667-e019-4a85-82bf-b9f50f141a0d" providerId="ADAL" clId="{774EC3AF-193C-47FC-A3B0-D308EE2F154F}" dt="2021-01-27T20:08:54.285" v="425" actId="20577"/>
          <ac:spMkLst>
            <pc:docMk/>
            <pc:sldMk cId="3598891342" sldId="2076137379"/>
            <ac:spMk id="2" creationId="{6BEA930D-A79D-48B7-8C36-233F22E7D2AC}"/>
          </ac:spMkLst>
        </pc:spChg>
        <pc:spChg chg="add mod">
          <ac:chgData name="Gracie A Chewning" userId="9de9d667-e019-4a85-82bf-b9f50f141a0d" providerId="ADAL" clId="{774EC3AF-193C-47FC-A3B0-D308EE2F154F}" dt="2021-01-27T20:13:32.781" v="687" actId="20577"/>
          <ac:spMkLst>
            <pc:docMk/>
            <pc:sldMk cId="3598891342" sldId="2076137379"/>
            <ac:spMk id="20" creationId="{56FC00A2-FF17-493E-A90D-50A0BDC6DEC7}"/>
          </ac:spMkLst>
        </pc:spChg>
        <pc:spChg chg="add mod">
          <ac:chgData name="Gracie A Chewning" userId="9de9d667-e019-4a85-82bf-b9f50f141a0d" providerId="ADAL" clId="{774EC3AF-193C-47FC-A3B0-D308EE2F154F}" dt="2021-01-27T20:35:19.838" v="1361" actId="20577"/>
          <ac:spMkLst>
            <pc:docMk/>
            <pc:sldMk cId="3598891342" sldId="2076137379"/>
            <ac:spMk id="21" creationId="{C7140DB9-EA02-43CF-A667-A4695DFFCE48}"/>
          </ac:spMkLst>
        </pc:spChg>
        <pc:spChg chg="add mod">
          <ac:chgData name="Gracie A Chewning" userId="9de9d667-e019-4a85-82bf-b9f50f141a0d" providerId="ADAL" clId="{774EC3AF-193C-47FC-A3B0-D308EE2F154F}" dt="2021-01-27T20:36:39.455" v="1510" actId="20577"/>
          <ac:spMkLst>
            <pc:docMk/>
            <pc:sldMk cId="3598891342" sldId="2076137379"/>
            <ac:spMk id="22" creationId="{375F6CD6-F02B-4AB6-9178-6F61338A2F9B}"/>
          </ac:spMkLst>
        </pc:spChg>
        <pc:spChg chg="del">
          <ac:chgData name="Gracie A Chewning" userId="9de9d667-e019-4a85-82bf-b9f50f141a0d" providerId="ADAL" clId="{774EC3AF-193C-47FC-A3B0-D308EE2F154F}" dt="2021-01-27T20:13:47.145" v="688" actId="478"/>
          <ac:spMkLst>
            <pc:docMk/>
            <pc:sldMk cId="3598891342" sldId="2076137379"/>
            <ac:spMk id="26" creationId="{288A37BC-A44E-4EFD-B25B-12D9A89A6F3F}"/>
          </ac:spMkLst>
        </pc:spChg>
        <pc:spChg chg="mod">
          <ac:chgData name="Gracie A Chewning" userId="9de9d667-e019-4a85-82bf-b9f50f141a0d" providerId="ADAL" clId="{774EC3AF-193C-47FC-A3B0-D308EE2F154F}" dt="2021-01-27T20:19:05.040" v="1152" actId="20577"/>
          <ac:spMkLst>
            <pc:docMk/>
            <pc:sldMk cId="3598891342" sldId="2076137379"/>
            <ac:spMk id="124" creationId="{46ED309E-F59D-45A0-B1EE-99B4AA64F61D}"/>
          </ac:spMkLst>
        </pc:spChg>
        <pc:spChg chg="del">
          <ac:chgData name="Gracie A Chewning" userId="9de9d667-e019-4a85-82bf-b9f50f141a0d" providerId="ADAL" clId="{774EC3AF-193C-47FC-A3B0-D308EE2F154F}" dt="2021-01-27T20:15:41.048" v="851" actId="478"/>
          <ac:spMkLst>
            <pc:docMk/>
            <pc:sldMk cId="3598891342" sldId="2076137379"/>
            <ac:spMk id="128" creationId="{4B364070-751C-44A4-961C-4D9D59932C74}"/>
          </ac:spMkLst>
        </pc:spChg>
        <pc:picChg chg="mod">
          <ac:chgData name="Gracie A Chewning" userId="9de9d667-e019-4a85-82bf-b9f50f141a0d" providerId="ADAL" clId="{774EC3AF-193C-47FC-A3B0-D308EE2F154F}" dt="2021-01-27T20:25:18.649" v="1175" actId="1076"/>
          <ac:picMkLst>
            <pc:docMk/>
            <pc:sldMk cId="3598891342" sldId="2076137379"/>
            <ac:picMk id="4" creationId="{423E82EB-C5E4-4978-B6E3-FF527DEFD9DD}"/>
          </ac:picMkLst>
        </pc:picChg>
        <pc:picChg chg="add mod">
          <ac:chgData name="Gracie A Chewning" userId="9de9d667-e019-4a85-82bf-b9f50f141a0d" providerId="ADAL" clId="{774EC3AF-193C-47FC-A3B0-D308EE2F154F}" dt="2021-01-27T20:21:03.183" v="1156" actId="1076"/>
          <ac:picMkLst>
            <pc:docMk/>
            <pc:sldMk cId="3598891342" sldId="2076137379"/>
            <ac:picMk id="5" creationId="{58FE8E1A-88DE-4107-A429-35D0CAA844E1}"/>
          </ac:picMkLst>
        </pc:picChg>
        <pc:picChg chg="del">
          <ac:chgData name="Gracie A Chewning" userId="9de9d667-e019-4a85-82bf-b9f50f141a0d" providerId="ADAL" clId="{774EC3AF-193C-47FC-A3B0-D308EE2F154F}" dt="2021-01-27T20:20:40.875" v="1155" actId="478"/>
          <ac:picMkLst>
            <pc:docMk/>
            <pc:sldMk cId="3598891342" sldId="2076137379"/>
            <ac:picMk id="7" creationId="{014E2A11-18F3-4BBB-A76C-57E2E398CDE0}"/>
          </ac:picMkLst>
        </pc:picChg>
        <pc:picChg chg="del">
          <ac:chgData name="Gracie A Chewning" userId="9de9d667-e019-4a85-82bf-b9f50f141a0d" providerId="ADAL" clId="{774EC3AF-193C-47FC-A3B0-D308EE2F154F}" dt="2021-01-27T20:24:31.686" v="1172" actId="478"/>
          <ac:picMkLst>
            <pc:docMk/>
            <pc:sldMk cId="3598891342" sldId="2076137379"/>
            <ac:picMk id="9" creationId="{BAEED9DD-42C5-424D-A314-568EB6DCDA6A}"/>
          </ac:picMkLst>
        </pc:picChg>
        <pc:picChg chg="add mod">
          <ac:chgData name="Gracie A Chewning" userId="9de9d667-e019-4a85-82bf-b9f50f141a0d" providerId="ADAL" clId="{774EC3AF-193C-47FC-A3B0-D308EE2F154F}" dt="2021-01-27T20:29:09.818" v="1225" actId="1076"/>
          <ac:picMkLst>
            <pc:docMk/>
            <pc:sldMk cId="3598891342" sldId="2076137379"/>
            <ac:picMk id="10" creationId="{F855B527-6A56-4DFF-B42D-4A62B6F31C26}"/>
          </ac:picMkLst>
        </pc:picChg>
        <pc:picChg chg="del">
          <ac:chgData name="Gracie A Chewning" userId="9de9d667-e019-4a85-82bf-b9f50f141a0d" providerId="ADAL" clId="{774EC3AF-193C-47FC-A3B0-D308EE2F154F}" dt="2021-01-27T20:25:21.775" v="1176" actId="478"/>
          <ac:picMkLst>
            <pc:docMk/>
            <pc:sldMk cId="3598891342" sldId="2076137379"/>
            <ac:picMk id="11" creationId="{CD5801B6-13AA-4FD8-B45B-74658BB73C79}"/>
          </ac:picMkLst>
        </pc:picChg>
        <pc:picChg chg="add mod">
          <ac:chgData name="Gracie A Chewning" userId="9de9d667-e019-4a85-82bf-b9f50f141a0d" providerId="ADAL" clId="{774EC3AF-193C-47FC-A3B0-D308EE2F154F}" dt="2021-01-27T20:29:46.749" v="1228" actId="1076"/>
          <ac:picMkLst>
            <pc:docMk/>
            <pc:sldMk cId="3598891342" sldId="2076137379"/>
            <ac:picMk id="13" creationId="{2FD2590C-8863-42D7-976E-0A9E5309EC26}"/>
          </ac:picMkLst>
        </pc:picChg>
      </pc:sldChg>
      <pc:sldChg chg="modSp">
        <pc:chgData name="Gracie A Chewning" userId="9de9d667-e019-4a85-82bf-b9f50f141a0d" providerId="ADAL" clId="{774EC3AF-193C-47FC-A3B0-D308EE2F154F}" dt="2021-01-27T21:20:46.744" v="1594" actId="113"/>
        <pc:sldMkLst>
          <pc:docMk/>
          <pc:sldMk cId="3773699427" sldId="2076137387"/>
        </pc:sldMkLst>
        <pc:spChg chg="mod">
          <ac:chgData name="Gracie A Chewning" userId="9de9d667-e019-4a85-82bf-b9f50f141a0d" providerId="ADAL" clId="{774EC3AF-193C-47FC-A3B0-D308EE2F154F}" dt="2021-01-27T21:20:46.744" v="1594" actId="113"/>
          <ac:spMkLst>
            <pc:docMk/>
            <pc:sldMk cId="3773699427" sldId="2076137387"/>
            <ac:spMk id="16" creationId="{F82660D4-174E-494B-8138-62CC2BD92056}"/>
          </ac:spMkLst>
        </pc:spChg>
        <pc:spChg chg="mod">
          <ac:chgData name="Gracie A Chewning" userId="9de9d667-e019-4a85-82bf-b9f50f141a0d" providerId="ADAL" clId="{774EC3AF-193C-47FC-A3B0-D308EE2F154F}" dt="2021-01-27T21:20:20.216" v="1591" actId="20577"/>
          <ac:spMkLst>
            <pc:docMk/>
            <pc:sldMk cId="3773699427" sldId="2076137387"/>
            <ac:spMk id="21" creationId="{97484700-38C9-49CC-AFE3-401E5C2E2E73}"/>
          </ac:spMkLst>
        </pc:spChg>
        <pc:picChg chg="mod modCrop">
          <ac:chgData name="Gracie A Chewning" userId="9de9d667-e019-4a85-82bf-b9f50f141a0d" providerId="ADAL" clId="{774EC3AF-193C-47FC-A3B0-D308EE2F154F}" dt="2021-01-27T21:19:53.478" v="1588" actId="1076"/>
          <ac:picMkLst>
            <pc:docMk/>
            <pc:sldMk cId="3773699427" sldId="2076137387"/>
            <ac:picMk id="5" creationId="{E66544D9-C1F9-4C10-90DD-DE9E0668C7FA}"/>
          </ac:picMkLst>
        </pc:picChg>
      </pc:sldChg>
      <pc:sldChg chg="addSp modSp">
        <pc:chgData name="Gracie A Chewning" userId="9de9d667-e019-4a85-82bf-b9f50f141a0d" providerId="ADAL" clId="{774EC3AF-193C-47FC-A3B0-D308EE2F154F}" dt="2021-01-27T21:21:07.708" v="1599" actId="20577"/>
        <pc:sldMkLst>
          <pc:docMk/>
          <pc:sldMk cId="552563287" sldId="2076137388"/>
        </pc:sldMkLst>
        <pc:spChg chg="add mod">
          <ac:chgData name="Gracie A Chewning" userId="9de9d667-e019-4a85-82bf-b9f50f141a0d" providerId="ADAL" clId="{774EC3AF-193C-47FC-A3B0-D308EE2F154F}" dt="2021-01-27T19:37:48.947" v="10" actId="1038"/>
          <ac:spMkLst>
            <pc:docMk/>
            <pc:sldMk cId="552563287" sldId="2076137388"/>
            <ac:spMk id="2" creationId="{EB37ED5B-7CDA-47D6-ACD7-9CE5DDAEA67C}"/>
          </ac:spMkLst>
        </pc:spChg>
        <pc:spChg chg="mod">
          <ac:chgData name="Gracie A Chewning" userId="9de9d667-e019-4a85-82bf-b9f50f141a0d" providerId="ADAL" clId="{774EC3AF-193C-47FC-A3B0-D308EE2F154F}" dt="2021-01-27T21:21:07.708" v="1599" actId="20577"/>
          <ac:spMkLst>
            <pc:docMk/>
            <pc:sldMk cId="552563287" sldId="2076137388"/>
            <ac:spMk id="21" creationId="{97484700-38C9-49CC-AFE3-401E5C2E2E73}"/>
          </ac:spMkLst>
        </pc:spChg>
      </pc:sldChg>
      <pc:sldChg chg="modSp">
        <pc:chgData name="Gracie A Chewning" userId="9de9d667-e019-4a85-82bf-b9f50f141a0d" providerId="ADAL" clId="{774EC3AF-193C-47FC-A3B0-D308EE2F154F}" dt="2021-01-27T21:22:54.833" v="1610" actId="20577"/>
        <pc:sldMkLst>
          <pc:docMk/>
          <pc:sldMk cId="414200059" sldId="2076137389"/>
        </pc:sldMkLst>
        <pc:spChg chg="mod">
          <ac:chgData name="Gracie A Chewning" userId="9de9d667-e019-4a85-82bf-b9f50f141a0d" providerId="ADAL" clId="{774EC3AF-193C-47FC-A3B0-D308EE2F154F}" dt="2021-01-27T21:22:54.833" v="1610" actId="20577"/>
          <ac:spMkLst>
            <pc:docMk/>
            <pc:sldMk cId="414200059" sldId="2076137389"/>
            <ac:spMk id="21" creationId="{97484700-38C9-49CC-AFE3-401E5C2E2E73}"/>
          </ac:spMkLst>
        </pc:spChg>
        <pc:picChg chg="mod">
          <ac:chgData name="Gracie A Chewning" userId="9de9d667-e019-4a85-82bf-b9f50f141a0d" providerId="ADAL" clId="{774EC3AF-193C-47FC-A3B0-D308EE2F154F}" dt="2021-01-27T21:22:07.454" v="1605" actId="1076"/>
          <ac:picMkLst>
            <pc:docMk/>
            <pc:sldMk cId="414200059" sldId="2076137389"/>
            <ac:picMk id="39938" creationId="{2122D3D1-D5E5-45AB-AFA2-28B2D2EDCB9C}"/>
          </ac:picMkLst>
        </pc:picChg>
        <pc:picChg chg="mod">
          <ac:chgData name="Gracie A Chewning" userId="9de9d667-e019-4a85-82bf-b9f50f141a0d" providerId="ADAL" clId="{774EC3AF-193C-47FC-A3B0-D308EE2F154F}" dt="2021-01-27T21:22:07.454" v="1605" actId="1076"/>
          <ac:picMkLst>
            <pc:docMk/>
            <pc:sldMk cId="414200059" sldId="2076137389"/>
            <ac:picMk id="39940" creationId="{3D34E562-E9A6-4056-8FC6-30A408F31FC2}"/>
          </ac:picMkLst>
        </pc:picChg>
      </pc:sldChg>
      <pc:sldChg chg="modSp">
        <pc:chgData name="Gracie A Chewning" userId="9de9d667-e019-4a85-82bf-b9f50f141a0d" providerId="ADAL" clId="{774EC3AF-193C-47FC-A3B0-D308EE2F154F}" dt="2021-01-27T21:24:46.174" v="1635" actId="20577"/>
        <pc:sldMkLst>
          <pc:docMk/>
          <pc:sldMk cId="2034733267" sldId="2076137390"/>
        </pc:sldMkLst>
        <pc:spChg chg="mod">
          <ac:chgData name="Gracie A Chewning" userId="9de9d667-e019-4a85-82bf-b9f50f141a0d" providerId="ADAL" clId="{774EC3AF-193C-47FC-A3B0-D308EE2F154F}" dt="2021-01-27T21:24:46.174" v="1635" actId="20577"/>
          <ac:spMkLst>
            <pc:docMk/>
            <pc:sldMk cId="2034733267" sldId="2076137390"/>
            <ac:spMk id="21" creationId="{97484700-38C9-49CC-AFE3-401E5C2E2E73}"/>
          </ac:spMkLst>
        </pc:spChg>
      </pc:sldChg>
      <pc:sldChg chg="modSp">
        <pc:chgData name="Gracie A Chewning" userId="9de9d667-e019-4a85-82bf-b9f50f141a0d" providerId="ADAL" clId="{774EC3AF-193C-47FC-A3B0-D308EE2F154F}" dt="2021-01-27T21:24:09.035" v="1632" actId="1076"/>
        <pc:sldMkLst>
          <pc:docMk/>
          <pc:sldMk cId="335893083" sldId="2076137391"/>
        </pc:sldMkLst>
        <pc:spChg chg="mod">
          <ac:chgData name="Gracie A Chewning" userId="9de9d667-e019-4a85-82bf-b9f50f141a0d" providerId="ADAL" clId="{774EC3AF-193C-47FC-A3B0-D308EE2F154F}" dt="2021-01-27T21:24:03.221" v="1631" actId="20577"/>
          <ac:spMkLst>
            <pc:docMk/>
            <pc:sldMk cId="335893083" sldId="2076137391"/>
            <ac:spMk id="21" creationId="{97484700-38C9-49CC-AFE3-401E5C2E2E73}"/>
          </ac:spMkLst>
        </pc:spChg>
        <pc:picChg chg="mod">
          <ac:chgData name="Gracie A Chewning" userId="9de9d667-e019-4a85-82bf-b9f50f141a0d" providerId="ADAL" clId="{774EC3AF-193C-47FC-A3B0-D308EE2F154F}" dt="2021-01-27T21:24:09.035" v="1632" actId="1076"/>
          <ac:picMkLst>
            <pc:docMk/>
            <pc:sldMk cId="335893083" sldId="2076137391"/>
            <ac:picMk id="41986" creationId="{5EBBB578-8DCD-47AC-BAA5-58990F9FA826}"/>
          </ac:picMkLst>
        </pc:picChg>
      </pc:sldChg>
      <pc:sldChg chg="modSp">
        <pc:chgData name="Gracie A Chewning" userId="9de9d667-e019-4a85-82bf-b9f50f141a0d" providerId="ADAL" clId="{774EC3AF-193C-47FC-A3B0-D308EE2F154F}" dt="2021-01-27T21:26:42.156" v="1705" actId="1076"/>
        <pc:sldMkLst>
          <pc:docMk/>
          <pc:sldMk cId="1315619119" sldId="2076137392"/>
        </pc:sldMkLst>
        <pc:spChg chg="mod">
          <ac:chgData name="Gracie A Chewning" userId="9de9d667-e019-4a85-82bf-b9f50f141a0d" providerId="ADAL" clId="{774EC3AF-193C-47FC-A3B0-D308EE2F154F}" dt="2021-01-27T21:26:42.156" v="1705" actId="1076"/>
          <ac:spMkLst>
            <pc:docMk/>
            <pc:sldMk cId="1315619119" sldId="2076137392"/>
            <ac:spMk id="21" creationId="{97484700-38C9-49CC-AFE3-401E5C2E2E73}"/>
          </ac:spMkLst>
        </pc:spChg>
        <pc:picChg chg="mod">
          <ac:chgData name="Gracie A Chewning" userId="9de9d667-e019-4a85-82bf-b9f50f141a0d" providerId="ADAL" clId="{774EC3AF-193C-47FC-A3B0-D308EE2F154F}" dt="2021-01-27T21:25:52.079" v="1688" actId="1076"/>
          <ac:picMkLst>
            <pc:docMk/>
            <pc:sldMk cId="1315619119" sldId="2076137392"/>
            <ac:picMk id="43010" creationId="{D7DF62CD-B3C2-459A-8178-C6F24790C1D4}"/>
          </ac:picMkLst>
        </pc:picChg>
        <pc:picChg chg="mod">
          <ac:chgData name="Gracie A Chewning" userId="9de9d667-e019-4a85-82bf-b9f50f141a0d" providerId="ADAL" clId="{774EC3AF-193C-47FC-A3B0-D308EE2F154F}" dt="2021-01-27T21:26:09.631" v="1700" actId="1035"/>
          <ac:picMkLst>
            <pc:docMk/>
            <pc:sldMk cId="1315619119" sldId="2076137392"/>
            <ac:picMk id="43012" creationId="{4DDE1753-A01B-4EE6-946E-7BFFEBE6578C}"/>
          </ac:picMkLst>
        </pc:picChg>
      </pc:sldChg>
      <pc:sldChg chg="addSp modSp">
        <pc:chgData name="Gracie A Chewning" userId="9de9d667-e019-4a85-82bf-b9f50f141a0d" providerId="ADAL" clId="{774EC3AF-193C-47FC-A3B0-D308EE2F154F}" dt="2021-01-27T21:29:09.153" v="1892" actId="1076"/>
        <pc:sldMkLst>
          <pc:docMk/>
          <pc:sldMk cId="1691788814" sldId="2076137393"/>
        </pc:sldMkLst>
        <pc:spChg chg="mod">
          <ac:chgData name="Gracie A Chewning" userId="9de9d667-e019-4a85-82bf-b9f50f141a0d" providerId="ADAL" clId="{774EC3AF-193C-47FC-A3B0-D308EE2F154F}" dt="2021-01-27T19:41:58.653" v="42" actId="20577"/>
          <ac:spMkLst>
            <pc:docMk/>
            <pc:sldMk cId="1691788814" sldId="2076137393"/>
            <ac:spMk id="8" creationId="{62CA0B21-B744-FE43-A932-81C21120730C}"/>
          </ac:spMkLst>
        </pc:spChg>
        <pc:spChg chg="add mod">
          <ac:chgData name="Gracie A Chewning" userId="9de9d667-e019-4a85-82bf-b9f50f141a0d" providerId="ADAL" clId="{774EC3AF-193C-47FC-A3B0-D308EE2F154F}" dt="2021-01-27T21:28:37.782" v="1887" actId="20577"/>
          <ac:spMkLst>
            <pc:docMk/>
            <pc:sldMk cId="1691788814" sldId="2076137393"/>
            <ac:spMk id="9" creationId="{CA97F92E-BD99-4E2A-8F5B-6AA2374FFA30}"/>
          </ac:spMkLst>
        </pc:spChg>
        <pc:spChg chg="mod">
          <ac:chgData name="Gracie A Chewning" userId="9de9d667-e019-4a85-82bf-b9f50f141a0d" providerId="ADAL" clId="{774EC3AF-193C-47FC-A3B0-D308EE2F154F}" dt="2021-01-27T21:29:05.629" v="1891" actId="20577"/>
          <ac:spMkLst>
            <pc:docMk/>
            <pc:sldMk cId="1691788814" sldId="2076137393"/>
            <ac:spMk id="21" creationId="{97484700-38C9-49CC-AFE3-401E5C2E2E73}"/>
          </ac:spMkLst>
        </pc:spChg>
        <pc:picChg chg="mod">
          <ac:chgData name="Gracie A Chewning" userId="9de9d667-e019-4a85-82bf-b9f50f141a0d" providerId="ADAL" clId="{774EC3AF-193C-47FC-A3B0-D308EE2F154F}" dt="2021-01-27T21:29:09.153" v="1892" actId="1076"/>
          <ac:picMkLst>
            <pc:docMk/>
            <pc:sldMk cId="1691788814" sldId="2076137393"/>
            <ac:picMk id="44034" creationId="{98D3C42A-103B-491F-AB3B-CC5CC538C510}"/>
          </ac:picMkLst>
        </pc:picChg>
      </pc:sldChg>
      <pc:sldChg chg="add">
        <pc:chgData name="Gracie A Chewning" userId="9de9d667-e019-4a85-82bf-b9f50f141a0d" providerId="ADAL" clId="{774EC3AF-193C-47FC-A3B0-D308EE2F154F}" dt="2021-01-27T19:57:51.587" v="285"/>
        <pc:sldMkLst>
          <pc:docMk/>
          <pc:sldMk cId="2491466233" sldId="2076137394"/>
        </pc:sldMkLst>
      </pc:sldChg>
      <pc:sldChg chg="add del">
        <pc:chgData name="Gracie A Chewning" userId="9de9d667-e019-4a85-82bf-b9f50f141a0d" providerId="ADAL" clId="{774EC3AF-193C-47FC-A3B0-D308EE2F154F}" dt="2021-01-27T19:57:39.316" v="284" actId="2696"/>
        <pc:sldMkLst>
          <pc:docMk/>
          <pc:sldMk cId="2511969660" sldId="2076137394"/>
        </pc:sldMkLst>
      </pc:sldChg>
    </pc:docChg>
  </pc:docChgLst>
  <pc:docChgLst>
    <pc:chgData name="Soraya G Sotudeh" userId="76c2cecb-13a5-4101-b93f-0776f653e718" providerId="ADAL" clId="{1AFDC898-F960-41F2-BACD-A8B829812B82}"/>
    <pc:docChg chg="undo redo custSel addSld delSld modSld sldOrd">
      <pc:chgData name="Soraya G Sotudeh" userId="76c2cecb-13a5-4101-b93f-0776f653e718" providerId="ADAL" clId="{1AFDC898-F960-41F2-BACD-A8B829812B82}" dt="2021-01-27T22:04:35.691" v="1140" actId="20577"/>
      <pc:docMkLst>
        <pc:docMk/>
      </pc:docMkLst>
      <pc:sldChg chg="del">
        <pc:chgData name="Soraya G Sotudeh" userId="76c2cecb-13a5-4101-b93f-0776f653e718" providerId="ADAL" clId="{1AFDC898-F960-41F2-BACD-A8B829812B82}" dt="2021-01-27T20:30:45.497" v="890" actId="2696"/>
        <pc:sldMkLst>
          <pc:docMk/>
          <pc:sldMk cId="3119417520" sldId="9026"/>
        </pc:sldMkLst>
      </pc:sldChg>
      <pc:sldChg chg="modSp">
        <pc:chgData name="Soraya G Sotudeh" userId="76c2cecb-13a5-4101-b93f-0776f653e718" providerId="ADAL" clId="{1AFDC898-F960-41F2-BACD-A8B829812B82}" dt="2021-01-27T22:03:24.631" v="1119" actId="20577"/>
        <pc:sldMkLst>
          <pc:docMk/>
          <pc:sldMk cId="24598589" sldId="9040"/>
        </pc:sldMkLst>
        <pc:spChg chg="mod">
          <ac:chgData name="Soraya G Sotudeh" userId="76c2cecb-13a5-4101-b93f-0776f653e718" providerId="ADAL" clId="{1AFDC898-F960-41F2-BACD-A8B829812B82}" dt="2021-01-27T22:03:24.631" v="1119" actId="20577"/>
          <ac:spMkLst>
            <pc:docMk/>
            <pc:sldMk cId="24598589" sldId="9040"/>
            <ac:spMk id="2" creationId="{BC00BD3B-220C-784F-A2E2-B8BF525AC13A}"/>
          </ac:spMkLst>
        </pc:spChg>
        <pc:spChg chg="mod">
          <ac:chgData name="Soraya G Sotudeh" userId="76c2cecb-13a5-4101-b93f-0776f653e718" providerId="ADAL" clId="{1AFDC898-F960-41F2-BACD-A8B829812B82}" dt="2021-01-27T19:57:35.765" v="724" actId="20577"/>
          <ac:spMkLst>
            <pc:docMk/>
            <pc:sldMk cId="24598589" sldId="9040"/>
            <ac:spMk id="4" creationId="{E254FB21-696D-4690-BA3F-8FFD2263E862}"/>
          </ac:spMkLst>
        </pc:spChg>
      </pc:sldChg>
      <pc:sldChg chg="modSp">
        <pc:chgData name="Soraya G Sotudeh" userId="76c2cecb-13a5-4101-b93f-0776f653e718" providerId="ADAL" clId="{1AFDC898-F960-41F2-BACD-A8B829812B82}" dt="2021-01-27T22:03:38.318" v="1128" actId="20577"/>
        <pc:sldMkLst>
          <pc:docMk/>
          <pc:sldMk cId="946266505" sldId="9045"/>
        </pc:sldMkLst>
        <pc:spChg chg="mod">
          <ac:chgData name="Soraya G Sotudeh" userId="76c2cecb-13a5-4101-b93f-0776f653e718" providerId="ADAL" clId="{1AFDC898-F960-41F2-BACD-A8B829812B82}" dt="2021-01-27T20:56:26.136" v="1071" actId="20577"/>
          <ac:spMkLst>
            <pc:docMk/>
            <pc:sldMk cId="946266505" sldId="9045"/>
            <ac:spMk id="5" creationId="{BADEDF88-32FC-4856-AE87-DB351D2708C1}"/>
          </ac:spMkLst>
        </pc:spChg>
        <pc:spChg chg="mod">
          <ac:chgData name="Soraya G Sotudeh" userId="76c2cecb-13a5-4101-b93f-0776f653e718" providerId="ADAL" clId="{1AFDC898-F960-41F2-BACD-A8B829812B82}" dt="2021-01-27T22:03:38.318" v="1128" actId="20577"/>
          <ac:spMkLst>
            <pc:docMk/>
            <pc:sldMk cId="946266505" sldId="9045"/>
            <ac:spMk id="6" creationId="{DD44C1A4-CC9D-4A4B-B32B-18DEC47A3A50}"/>
          </ac:spMkLst>
        </pc:spChg>
      </pc:sldChg>
      <pc:sldChg chg="delSp">
        <pc:chgData name="Soraya G Sotudeh" userId="76c2cecb-13a5-4101-b93f-0776f653e718" providerId="ADAL" clId="{1AFDC898-F960-41F2-BACD-A8B829812B82}" dt="2021-01-27T19:38:41.713" v="610" actId="478"/>
        <pc:sldMkLst>
          <pc:docMk/>
          <pc:sldMk cId="3813086601" sldId="9056"/>
        </pc:sldMkLst>
        <pc:spChg chg="del">
          <ac:chgData name="Soraya G Sotudeh" userId="76c2cecb-13a5-4101-b93f-0776f653e718" providerId="ADAL" clId="{1AFDC898-F960-41F2-BACD-A8B829812B82}" dt="2021-01-27T19:38:41.713" v="610" actId="478"/>
          <ac:spMkLst>
            <pc:docMk/>
            <pc:sldMk cId="3813086601" sldId="9056"/>
            <ac:spMk id="5" creationId="{16081571-453F-4E5C-A140-E93FF02622E3}"/>
          </ac:spMkLst>
        </pc:spChg>
      </pc:sldChg>
      <pc:sldChg chg="modSp">
        <pc:chgData name="Soraya G Sotudeh" userId="76c2cecb-13a5-4101-b93f-0776f653e718" providerId="ADAL" clId="{1AFDC898-F960-41F2-BACD-A8B829812B82}" dt="2021-01-27T22:03:34.520" v="1125" actId="20577"/>
        <pc:sldMkLst>
          <pc:docMk/>
          <pc:sldMk cId="3123279992" sldId="9070"/>
        </pc:sldMkLst>
        <pc:graphicFrameChg chg="modGraphic">
          <ac:chgData name="Soraya G Sotudeh" userId="76c2cecb-13a5-4101-b93f-0776f653e718" providerId="ADAL" clId="{1AFDC898-F960-41F2-BACD-A8B829812B82}" dt="2021-01-27T22:03:34.520" v="1125" actId="20577"/>
          <ac:graphicFrameMkLst>
            <pc:docMk/>
            <pc:sldMk cId="3123279992" sldId="9070"/>
            <ac:graphicFrameMk id="6" creationId="{78B1BD31-3AF9-4B81-93FC-7241460106EA}"/>
          </ac:graphicFrameMkLst>
        </pc:graphicFrameChg>
      </pc:sldChg>
      <pc:sldChg chg="del">
        <pc:chgData name="Soraya G Sotudeh" userId="76c2cecb-13a5-4101-b93f-0776f653e718" providerId="ADAL" clId="{1AFDC898-F960-41F2-BACD-A8B829812B82}" dt="2021-01-27T20:56:29.615" v="1072" actId="2696"/>
        <pc:sldMkLst>
          <pc:docMk/>
          <pc:sldMk cId="450641459" sldId="9071"/>
        </pc:sldMkLst>
      </pc:sldChg>
      <pc:sldChg chg="del">
        <pc:chgData name="Soraya G Sotudeh" userId="76c2cecb-13a5-4101-b93f-0776f653e718" providerId="ADAL" clId="{1AFDC898-F960-41F2-BACD-A8B829812B82}" dt="2021-01-27T20:29:31.396" v="858" actId="2696"/>
        <pc:sldMkLst>
          <pc:docMk/>
          <pc:sldMk cId="2643682430" sldId="9072"/>
        </pc:sldMkLst>
      </pc:sldChg>
      <pc:sldChg chg="del">
        <pc:chgData name="Soraya G Sotudeh" userId="76c2cecb-13a5-4101-b93f-0776f653e718" providerId="ADAL" clId="{1AFDC898-F960-41F2-BACD-A8B829812B82}" dt="2021-01-27T19:35:59.649" v="583" actId="2696"/>
        <pc:sldMkLst>
          <pc:docMk/>
          <pc:sldMk cId="2825109380" sldId="9074"/>
        </pc:sldMkLst>
      </pc:sldChg>
      <pc:sldChg chg="addSp delSp modSp">
        <pc:chgData name="Soraya G Sotudeh" userId="76c2cecb-13a5-4101-b93f-0776f653e718" providerId="ADAL" clId="{1AFDC898-F960-41F2-BACD-A8B829812B82}" dt="2021-01-27T22:04:15.598" v="1131" actId="20577"/>
        <pc:sldMkLst>
          <pc:docMk/>
          <pc:sldMk cId="1447221636" sldId="9079"/>
        </pc:sldMkLst>
        <pc:spChg chg="mod">
          <ac:chgData name="Soraya G Sotudeh" userId="76c2cecb-13a5-4101-b93f-0776f653e718" providerId="ADAL" clId="{1AFDC898-F960-41F2-BACD-A8B829812B82}" dt="2021-01-27T19:06:33.615" v="71" actId="20577"/>
          <ac:spMkLst>
            <pc:docMk/>
            <pc:sldMk cId="1447221636" sldId="9079"/>
            <ac:spMk id="8" creationId="{62CA0B21-B744-FE43-A932-81C21120730C}"/>
          </ac:spMkLst>
        </pc:spChg>
        <pc:spChg chg="mod">
          <ac:chgData name="Soraya G Sotudeh" userId="76c2cecb-13a5-4101-b93f-0776f653e718" providerId="ADAL" clId="{1AFDC898-F960-41F2-BACD-A8B829812B82}" dt="2021-01-27T19:09:46.710" v="143" actId="20577"/>
          <ac:spMkLst>
            <pc:docMk/>
            <pc:sldMk cId="1447221636" sldId="9079"/>
            <ac:spMk id="14" creationId="{C8790A2E-14EC-431A-8D3D-A0C0112FFD41}"/>
          </ac:spMkLst>
        </pc:spChg>
        <pc:spChg chg="del mod">
          <ac:chgData name="Soraya G Sotudeh" userId="76c2cecb-13a5-4101-b93f-0776f653e718" providerId="ADAL" clId="{1AFDC898-F960-41F2-BACD-A8B829812B82}" dt="2021-01-27T19:08:37.742" v="111" actId="478"/>
          <ac:spMkLst>
            <pc:docMk/>
            <pc:sldMk cId="1447221636" sldId="9079"/>
            <ac:spMk id="16" creationId="{F82660D4-174E-494B-8138-62CC2BD92056}"/>
          </ac:spMkLst>
        </pc:spChg>
        <pc:spChg chg="mod">
          <ac:chgData name="Soraya G Sotudeh" userId="76c2cecb-13a5-4101-b93f-0776f653e718" providerId="ADAL" clId="{1AFDC898-F960-41F2-BACD-A8B829812B82}" dt="2021-01-27T22:04:15.598" v="1131" actId="20577"/>
          <ac:spMkLst>
            <pc:docMk/>
            <pc:sldMk cId="1447221636" sldId="9079"/>
            <ac:spMk id="21" creationId="{97484700-38C9-49CC-AFE3-401E5C2E2E73}"/>
          </ac:spMkLst>
        </pc:spChg>
        <pc:spChg chg="del">
          <ac:chgData name="Soraya G Sotudeh" userId="76c2cecb-13a5-4101-b93f-0776f653e718" providerId="ADAL" clId="{1AFDC898-F960-41F2-BACD-A8B829812B82}" dt="2021-01-27T19:10:23.455" v="159" actId="478"/>
          <ac:spMkLst>
            <pc:docMk/>
            <pc:sldMk cId="1447221636" sldId="9079"/>
            <ac:spMk id="25" creationId="{62E2E481-4606-4BD4-8D5E-F25AB30BF51F}"/>
          </ac:spMkLst>
        </pc:spChg>
        <pc:picChg chg="del">
          <ac:chgData name="Soraya G Sotudeh" userId="76c2cecb-13a5-4101-b93f-0776f653e718" providerId="ADAL" clId="{1AFDC898-F960-41F2-BACD-A8B829812B82}" dt="2021-01-27T19:04:26.316" v="44" actId="478"/>
          <ac:picMkLst>
            <pc:docMk/>
            <pc:sldMk cId="1447221636" sldId="9079"/>
            <ac:picMk id="3" creationId="{8034ED25-DE14-4A2A-ADFE-2008190209A5}"/>
          </ac:picMkLst>
        </pc:picChg>
        <pc:picChg chg="add mod">
          <ac:chgData name="Soraya G Sotudeh" userId="76c2cecb-13a5-4101-b93f-0776f653e718" providerId="ADAL" clId="{1AFDC898-F960-41F2-BACD-A8B829812B82}" dt="2021-01-27T19:15:10.593" v="231" actId="1076"/>
          <ac:picMkLst>
            <pc:docMk/>
            <pc:sldMk cId="1447221636" sldId="9079"/>
            <ac:picMk id="8219" creationId="{C1571F65-432E-40B2-ABA0-D994F289E037}"/>
          </ac:picMkLst>
        </pc:picChg>
      </pc:sldChg>
      <pc:sldChg chg="addSp delSp modSp">
        <pc:chgData name="Soraya G Sotudeh" userId="76c2cecb-13a5-4101-b93f-0776f653e718" providerId="ADAL" clId="{1AFDC898-F960-41F2-BACD-A8B829812B82}" dt="2021-01-27T22:04:23.585" v="1137" actId="20577"/>
        <pc:sldMkLst>
          <pc:docMk/>
          <pc:sldMk cId="494369478" sldId="9087"/>
        </pc:sldMkLst>
        <pc:spChg chg="mod">
          <ac:chgData name="Soraya G Sotudeh" userId="76c2cecb-13a5-4101-b93f-0776f653e718" providerId="ADAL" clId="{1AFDC898-F960-41F2-BACD-A8B829812B82}" dt="2021-01-27T19:47:15.635" v="722" actId="20577"/>
          <ac:spMkLst>
            <pc:docMk/>
            <pc:sldMk cId="494369478" sldId="9087"/>
            <ac:spMk id="8" creationId="{62CA0B21-B744-FE43-A932-81C21120730C}"/>
          </ac:spMkLst>
        </pc:spChg>
        <pc:spChg chg="del">
          <ac:chgData name="Soraya G Sotudeh" userId="76c2cecb-13a5-4101-b93f-0776f653e718" providerId="ADAL" clId="{1AFDC898-F960-41F2-BACD-A8B829812B82}" dt="2021-01-27T19:07:17.283" v="77" actId="478"/>
          <ac:spMkLst>
            <pc:docMk/>
            <pc:sldMk cId="494369478" sldId="9087"/>
            <ac:spMk id="14" creationId="{B70CD103-6C31-481B-90A9-E931198C5743}"/>
          </ac:spMkLst>
        </pc:spChg>
        <pc:spChg chg="mod">
          <ac:chgData name="Soraya G Sotudeh" userId="76c2cecb-13a5-4101-b93f-0776f653e718" providerId="ADAL" clId="{1AFDC898-F960-41F2-BACD-A8B829812B82}" dt="2021-01-27T19:14:02.030" v="226" actId="2711"/>
          <ac:spMkLst>
            <pc:docMk/>
            <pc:sldMk cId="494369478" sldId="9087"/>
            <ac:spMk id="16" creationId="{F82660D4-174E-494B-8138-62CC2BD92056}"/>
          </ac:spMkLst>
        </pc:spChg>
        <pc:spChg chg="del">
          <ac:chgData name="Soraya G Sotudeh" userId="76c2cecb-13a5-4101-b93f-0776f653e718" providerId="ADAL" clId="{1AFDC898-F960-41F2-BACD-A8B829812B82}" dt="2021-01-27T19:07:17.283" v="77" actId="478"/>
          <ac:spMkLst>
            <pc:docMk/>
            <pc:sldMk cId="494369478" sldId="9087"/>
            <ac:spMk id="17" creationId="{E5939772-499D-47DB-8FB0-10BFCD00D66B}"/>
          </ac:spMkLst>
        </pc:spChg>
        <pc:spChg chg="mod">
          <ac:chgData name="Soraya G Sotudeh" userId="76c2cecb-13a5-4101-b93f-0776f653e718" providerId="ADAL" clId="{1AFDC898-F960-41F2-BACD-A8B829812B82}" dt="2021-01-27T19:09:42.720" v="142" actId="20577"/>
          <ac:spMkLst>
            <pc:docMk/>
            <pc:sldMk cId="494369478" sldId="9087"/>
            <ac:spMk id="20" creationId="{3CEF303B-DAEF-4960-8212-6FDC11DC4F7B}"/>
          </ac:spMkLst>
        </pc:spChg>
        <pc:spChg chg="mod">
          <ac:chgData name="Soraya G Sotudeh" userId="76c2cecb-13a5-4101-b93f-0776f653e718" providerId="ADAL" clId="{1AFDC898-F960-41F2-BACD-A8B829812B82}" dt="2021-01-27T22:04:23.585" v="1137" actId="20577"/>
          <ac:spMkLst>
            <pc:docMk/>
            <pc:sldMk cId="494369478" sldId="9087"/>
            <ac:spMk id="21" creationId="{97484700-38C9-49CC-AFE3-401E5C2E2E73}"/>
          </ac:spMkLst>
        </pc:spChg>
        <pc:spChg chg="del">
          <ac:chgData name="Soraya G Sotudeh" userId="76c2cecb-13a5-4101-b93f-0776f653e718" providerId="ADAL" clId="{1AFDC898-F960-41F2-BACD-A8B829812B82}" dt="2021-01-27T19:07:17.283" v="77" actId="478"/>
          <ac:spMkLst>
            <pc:docMk/>
            <pc:sldMk cId="494369478" sldId="9087"/>
            <ac:spMk id="22" creationId="{336D8EAB-2407-4CA0-AFE4-81B8A10976D0}"/>
          </ac:spMkLst>
        </pc:spChg>
        <pc:picChg chg="del">
          <ac:chgData name="Soraya G Sotudeh" userId="76c2cecb-13a5-4101-b93f-0776f653e718" providerId="ADAL" clId="{1AFDC898-F960-41F2-BACD-A8B829812B82}" dt="2021-01-27T19:07:07.784" v="76" actId="478"/>
          <ac:picMkLst>
            <pc:docMk/>
            <pc:sldMk cId="494369478" sldId="9087"/>
            <ac:picMk id="2" creationId="{2F28173C-A549-4AE8-AEFF-FE0F7B304045}"/>
          </ac:picMkLst>
        </pc:picChg>
        <pc:picChg chg="del">
          <ac:chgData name="Soraya G Sotudeh" userId="76c2cecb-13a5-4101-b93f-0776f653e718" providerId="ADAL" clId="{1AFDC898-F960-41F2-BACD-A8B829812B82}" dt="2021-01-27T19:07:03.407" v="75" actId="478"/>
          <ac:picMkLst>
            <pc:docMk/>
            <pc:sldMk cId="494369478" sldId="9087"/>
            <ac:picMk id="4" creationId="{2265E07C-6B3E-400D-B602-714B44A000ED}"/>
          </ac:picMkLst>
        </pc:picChg>
        <pc:picChg chg="add mod">
          <ac:chgData name="Soraya G Sotudeh" userId="76c2cecb-13a5-4101-b93f-0776f653e718" providerId="ADAL" clId="{1AFDC898-F960-41F2-BACD-A8B829812B82}" dt="2021-01-27T19:14:54.745" v="229" actId="1076"/>
          <ac:picMkLst>
            <pc:docMk/>
            <pc:sldMk cId="494369478" sldId="9087"/>
            <ac:picMk id="9243" creationId="{12F50947-16F6-4C5F-B48E-1C8D74BAC4C8}"/>
          </ac:picMkLst>
        </pc:picChg>
        <pc:picChg chg="add mod">
          <ac:chgData name="Soraya G Sotudeh" userId="76c2cecb-13a5-4101-b93f-0776f653e718" providerId="ADAL" clId="{1AFDC898-F960-41F2-BACD-A8B829812B82}" dt="2021-01-27T19:20:52.762" v="320" actId="1076"/>
          <ac:picMkLst>
            <pc:docMk/>
            <pc:sldMk cId="494369478" sldId="9087"/>
            <ac:picMk id="9245" creationId="{D906397F-4652-4F0B-871B-33EC61A70AD5}"/>
          </ac:picMkLst>
        </pc:picChg>
      </pc:sldChg>
      <pc:sldChg chg="addSp delSp modSp">
        <pc:chgData name="Soraya G Sotudeh" userId="76c2cecb-13a5-4101-b93f-0776f653e718" providerId="ADAL" clId="{1AFDC898-F960-41F2-BACD-A8B829812B82}" dt="2021-01-27T19:35:39.256" v="582" actId="20577"/>
        <pc:sldMkLst>
          <pc:docMk/>
          <pc:sldMk cId="3443520972" sldId="9089"/>
        </pc:sldMkLst>
        <pc:spChg chg="add mod">
          <ac:chgData name="Soraya G Sotudeh" userId="76c2cecb-13a5-4101-b93f-0776f653e718" providerId="ADAL" clId="{1AFDC898-F960-41F2-BACD-A8B829812B82}" dt="2021-01-27T19:31:32.844" v="495" actId="20577"/>
          <ac:spMkLst>
            <pc:docMk/>
            <pc:sldMk cId="3443520972" sldId="9089"/>
            <ac:spMk id="3" creationId="{1D1E0C3A-1DBD-45D0-96D2-91865BC9498E}"/>
          </ac:spMkLst>
        </pc:spChg>
        <pc:spChg chg="add mod">
          <ac:chgData name="Soraya G Sotudeh" userId="76c2cecb-13a5-4101-b93f-0776f653e718" providerId="ADAL" clId="{1AFDC898-F960-41F2-BACD-A8B829812B82}" dt="2021-01-27T19:32:40.623" v="517" actId="14100"/>
          <ac:spMkLst>
            <pc:docMk/>
            <pc:sldMk cId="3443520972" sldId="9089"/>
            <ac:spMk id="4" creationId="{F0BAB9BB-4289-408D-860F-8AEA3117E2A2}"/>
          </ac:spMkLst>
        </pc:spChg>
        <pc:spChg chg="mod">
          <ac:chgData name="Soraya G Sotudeh" userId="76c2cecb-13a5-4101-b93f-0776f653e718" providerId="ADAL" clId="{1AFDC898-F960-41F2-BACD-A8B829812B82}" dt="2021-01-27T19:35:39.256" v="582" actId="20577"/>
          <ac:spMkLst>
            <pc:docMk/>
            <pc:sldMk cId="3443520972" sldId="9089"/>
            <ac:spMk id="8" creationId="{62CA0B21-B744-FE43-A932-81C21120730C}"/>
          </ac:spMkLst>
        </pc:spChg>
        <pc:spChg chg="mod">
          <ac:chgData name="Soraya G Sotudeh" userId="76c2cecb-13a5-4101-b93f-0776f653e718" providerId="ADAL" clId="{1AFDC898-F960-41F2-BACD-A8B829812B82}" dt="2021-01-27T19:30:02.014" v="462" actId="20577"/>
          <ac:spMkLst>
            <pc:docMk/>
            <pc:sldMk cId="3443520972" sldId="9089"/>
            <ac:spMk id="12" creationId="{78631230-9BFB-451F-A6CD-70D497EB7052}"/>
          </ac:spMkLst>
        </pc:spChg>
        <pc:spChg chg="del mod">
          <ac:chgData name="Soraya G Sotudeh" userId="76c2cecb-13a5-4101-b93f-0776f653e718" providerId="ADAL" clId="{1AFDC898-F960-41F2-BACD-A8B829812B82}" dt="2021-01-27T19:30:07.690" v="466" actId="478"/>
          <ac:spMkLst>
            <pc:docMk/>
            <pc:sldMk cId="3443520972" sldId="9089"/>
            <ac:spMk id="16" creationId="{F82660D4-174E-494B-8138-62CC2BD92056}"/>
          </ac:spMkLst>
        </pc:spChg>
        <pc:spChg chg="del">
          <ac:chgData name="Soraya G Sotudeh" userId="76c2cecb-13a5-4101-b93f-0776f653e718" providerId="ADAL" clId="{1AFDC898-F960-41F2-BACD-A8B829812B82}" dt="2021-01-27T19:29:25.383" v="446" actId="478"/>
          <ac:spMkLst>
            <pc:docMk/>
            <pc:sldMk cId="3443520972" sldId="9089"/>
            <ac:spMk id="20" creationId="{A91A75F7-D963-4AF1-91B2-7E7B08F59CC5}"/>
          </ac:spMkLst>
        </pc:spChg>
        <pc:spChg chg="del mod">
          <ac:chgData name="Soraya G Sotudeh" userId="76c2cecb-13a5-4101-b93f-0776f653e718" providerId="ADAL" clId="{1AFDC898-F960-41F2-BACD-A8B829812B82}" dt="2021-01-27T19:30:03.362" v="464"/>
          <ac:spMkLst>
            <pc:docMk/>
            <pc:sldMk cId="3443520972" sldId="9089"/>
            <ac:spMk id="21" creationId="{97484700-38C9-49CC-AFE3-401E5C2E2E73}"/>
          </ac:spMkLst>
        </pc:spChg>
        <pc:picChg chg="del">
          <ac:chgData name="Soraya G Sotudeh" userId="76c2cecb-13a5-4101-b93f-0776f653e718" providerId="ADAL" clId="{1AFDC898-F960-41F2-BACD-A8B829812B82}" dt="2021-01-27T19:29:27.251" v="447" actId="478"/>
          <ac:picMkLst>
            <pc:docMk/>
            <pc:sldMk cId="3443520972" sldId="9089"/>
            <ac:picMk id="2" creationId="{59699B44-3267-456E-96B4-B255A71541F4}"/>
          </ac:picMkLst>
        </pc:picChg>
        <pc:picChg chg="del">
          <ac:chgData name="Soraya G Sotudeh" userId="76c2cecb-13a5-4101-b93f-0776f653e718" providerId="ADAL" clId="{1AFDC898-F960-41F2-BACD-A8B829812B82}" dt="2021-01-27T19:29:23.117" v="445" actId="478"/>
          <ac:picMkLst>
            <pc:docMk/>
            <pc:sldMk cId="3443520972" sldId="9089"/>
            <ac:picMk id="5" creationId="{01240170-6621-4596-83C4-E1307A4D599A}"/>
          </ac:picMkLst>
        </pc:picChg>
        <pc:picChg chg="add mod">
          <ac:chgData name="Soraya G Sotudeh" userId="76c2cecb-13a5-4101-b93f-0776f653e718" providerId="ADAL" clId="{1AFDC898-F960-41F2-BACD-A8B829812B82}" dt="2021-01-27T19:29:52.876" v="452" actId="1076"/>
          <ac:picMkLst>
            <pc:docMk/>
            <pc:sldMk cId="3443520972" sldId="9089"/>
            <ac:picMk id="11291" creationId="{1F6D7D03-63C2-4706-A2E0-0BA48E3EF488}"/>
          </ac:picMkLst>
        </pc:picChg>
        <pc:picChg chg="add mod">
          <ac:chgData name="Soraya G Sotudeh" userId="76c2cecb-13a5-4101-b93f-0776f653e718" providerId="ADAL" clId="{1AFDC898-F960-41F2-BACD-A8B829812B82}" dt="2021-01-27T19:33:30.830" v="519" actId="1076"/>
          <ac:picMkLst>
            <pc:docMk/>
            <pc:sldMk cId="3443520972" sldId="9089"/>
            <ac:picMk id="11293" creationId="{A1AF28B0-F953-4CF0-B52A-0AD23200F3F9}"/>
          </ac:picMkLst>
        </pc:picChg>
      </pc:sldChg>
      <pc:sldChg chg="modSp">
        <pc:chgData name="Soraya G Sotudeh" userId="76c2cecb-13a5-4101-b93f-0776f653e718" providerId="ADAL" clId="{1AFDC898-F960-41F2-BACD-A8B829812B82}" dt="2021-01-27T18:59:39.092" v="39" actId="20577"/>
        <pc:sldMkLst>
          <pc:docMk/>
          <pc:sldMk cId="2793015335" sldId="2076137386"/>
        </pc:sldMkLst>
        <pc:graphicFrameChg chg="mod modGraphic">
          <ac:chgData name="Soraya G Sotudeh" userId="76c2cecb-13a5-4101-b93f-0776f653e718" providerId="ADAL" clId="{1AFDC898-F960-41F2-BACD-A8B829812B82}" dt="2021-01-27T18:59:39.092" v="39" actId="20577"/>
          <ac:graphicFrameMkLst>
            <pc:docMk/>
            <pc:sldMk cId="2793015335" sldId="2076137386"/>
            <ac:graphicFrameMk id="6" creationId="{78B1BD31-3AF9-4B81-93FC-7241460106EA}"/>
          </ac:graphicFrameMkLst>
        </pc:graphicFrameChg>
      </pc:sldChg>
      <pc:sldChg chg="addSp delSp modSp">
        <pc:chgData name="Soraya G Sotudeh" userId="76c2cecb-13a5-4101-b93f-0776f653e718" providerId="ADAL" clId="{1AFDC898-F960-41F2-BACD-A8B829812B82}" dt="2021-01-27T20:53:18.570" v="991" actId="692"/>
        <pc:sldMkLst>
          <pc:docMk/>
          <pc:sldMk cId="3773699427" sldId="2076137387"/>
        </pc:sldMkLst>
        <pc:spChg chg="mod">
          <ac:chgData name="Soraya G Sotudeh" userId="76c2cecb-13a5-4101-b93f-0776f653e718" providerId="ADAL" clId="{1AFDC898-F960-41F2-BACD-A8B829812B82}" dt="2021-01-27T19:15:35.053" v="262" actId="20577"/>
          <ac:spMkLst>
            <pc:docMk/>
            <pc:sldMk cId="3773699427" sldId="2076137387"/>
            <ac:spMk id="8" creationId="{62CA0B21-B744-FE43-A932-81C21120730C}"/>
          </ac:spMkLst>
        </pc:spChg>
        <pc:spChg chg="mod">
          <ac:chgData name="Soraya G Sotudeh" userId="76c2cecb-13a5-4101-b93f-0776f653e718" providerId="ADAL" clId="{1AFDC898-F960-41F2-BACD-A8B829812B82}" dt="2021-01-27T19:11:58.672" v="203" actId="20577"/>
          <ac:spMkLst>
            <pc:docMk/>
            <pc:sldMk cId="3773699427" sldId="2076137387"/>
            <ac:spMk id="14" creationId="{95F0D1EB-18E1-4500-AAE6-A4CD090D37E8}"/>
          </ac:spMkLst>
        </pc:spChg>
        <pc:spChg chg="mod">
          <ac:chgData name="Soraya G Sotudeh" userId="76c2cecb-13a5-4101-b93f-0776f653e718" providerId="ADAL" clId="{1AFDC898-F960-41F2-BACD-A8B829812B82}" dt="2021-01-27T19:13:24.523" v="220" actId="20577"/>
          <ac:spMkLst>
            <pc:docMk/>
            <pc:sldMk cId="3773699427" sldId="2076137387"/>
            <ac:spMk id="16" creationId="{F82660D4-174E-494B-8138-62CC2BD92056}"/>
          </ac:spMkLst>
        </pc:spChg>
        <pc:spChg chg="mod">
          <ac:chgData name="Soraya G Sotudeh" userId="76c2cecb-13a5-4101-b93f-0776f653e718" providerId="ADAL" clId="{1AFDC898-F960-41F2-BACD-A8B829812B82}" dt="2021-01-27T19:13:30.130" v="221" actId="2711"/>
          <ac:spMkLst>
            <pc:docMk/>
            <pc:sldMk cId="3773699427" sldId="2076137387"/>
            <ac:spMk id="21" creationId="{97484700-38C9-49CC-AFE3-401E5C2E2E73}"/>
          </ac:spMkLst>
        </pc:spChg>
        <pc:spChg chg="del">
          <ac:chgData name="Soraya G Sotudeh" userId="76c2cecb-13a5-4101-b93f-0776f653e718" providerId="ADAL" clId="{1AFDC898-F960-41F2-BACD-A8B829812B82}" dt="2021-01-27T19:12:20.431" v="209" actId="478"/>
          <ac:spMkLst>
            <pc:docMk/>
            <pc:sldMk cId="3773699427" sldId="2076137387"/>
            <ac:spMk id="22" creationId="{336D8EAB-2407-4CA0-AFE4-81B8A10976D0}"/>
          </ac:spMkLst>
        </pc:spChg>
        <pc:picChg chg="del">
          <ac:chgData name="Soraya G Sotudeh" userId="76c2cecb-13a5-4101-b93f-0776f653e718" providerId="ADAL" clId="{1AFDC898-F960-41F2-BACD-A8B829812B82}" dt="2021-01-27T19:12:20.431" v="209" actId="478"/>
          <ac:picMkLst>
            <pc:docMk/>
            <pc:sldMk cId="3773699427" sldId="2076137387"/>
            <ac:picMk id="2" creationId="{B468A8E7-88EE-41D3-8C78-FD8614C9F516}"/>
          </ac:picMkLst>
        </pc:picChg>
        <pc:picChg chg="del">
          <ac:chgData name="Soraya G Sotudeh" userId="76c2cecb-13a5-4101-b93f-0776f653e718" providerId="ADAL" clId="{1AFDC898-F960-41F2-BACD-A8B829812B82}" dt="2021-01-27T19:12:17.345" v="208" actId="478"/>
          <ac:picMkLst>
            <pc:docMk/>
            <pc:sldMk cId="3773699427" sldId="2076137387"/>
            <ac:picMk id="3" creationId="{C40C21F9-8950-4796-853E-78A8FE020511}"/>
          </ac:picMkLst>
        </pc:picChg>
        <pc:picChg chg="add mod">
          <ac:chgData name="Soraya G Sotudeh" userId="76c2cecb-13a5-4101-b93f-0776f653e718" providerId="ADAL" clId="{1AFDC898-F960-41F2-BACD-A8B829812B82}" dt="2021-01-27T20:53:18.570" v="991" actId="692"/>
          <ac:picMkLst>
            <pc:docMk/>
            <pc:sldMk cId="3773699427" sldId="2076137387"/>
            <ac:picMk id="5" creationId="{E66544D9-C1F9-4C10-90DD-DE9E0668C7FA}"/>
          </ac:picMkLst>
        </pc:picChg>
        <pc:picChg chg="add del mod">
          <ac:chgData name="Soraya G Sotudeh" userId="76c2cecb-13a5-4101-b93f-0776f653e718" providerId="ADAL" clId="{1AFDC898-F960-41F2-BACD-A8B829812B82}" dt="2021-01-27T20:52:40.144" v="984" actId="478"/>
          <ac:picMkLst>
            <pc:docMk/>
            <pc:sldMk cId="3773699427" sldId="2076137387"/>
            <ac:picMk id="10267" creationId="{53BAF8B1-1CCD-4D3D-AFA1-0EF70F336337}"/>
          </ac:picMkLst>
        </pc:picChg>
      </pc:sldChg>
      <pc:sldChg chg="addSp delSp modSp">
        <pc:chgData name="Soraya G Sotudeh" userId="76c2cecb-13a5-4101-b93f-0776f653e718" providerId="ADAL" clId="{1AFDC898-F960-41F2-BACD-A8B829812B82}" dt="2021-01-27T19:18:42.106" v="310" actId="20577"/>
        <pc:sldMkLst>
          <pc:docMk/>
          <pc:sldMk cId="552563287" sldId="2076137388"/>
        </pc:sldMkLst>
        <pc:spChg chg="mod">
          <ac:chgData name="Soraya G Sotudeh" userId="76c2cecb-13a5-4101-b93f-0776f653e718" providerId="ADAL" clId="{1AFDC898-F960-41F2-BACD-A8B829812B82}" dt="2021-01-27T19:18:42.106" v="310" actId="20577"/>
          <ac:spMkLst>
            <pc:docMk/>
            <pc:sldMk cId="552563287" sldId="2076137388"/>
            <ac:spMk id="8" creationId="{62CA0B21-B744-FE43-A932-81C21120730C}"/>
          </ac:spMkLst>
        </pc:spChg>
        <pc:spChg chg="del">
          <ac:chgData name="Soraya G Sotudeh" userId="76c2cecb-13a5-4101-b93f-0776f653e718" providerId="ADAL" clId="{1AFDC898-F960-41F2-BACD-A8B829812B82}" dt="2021-01-27T19:18:15.607" v="277" actId="478"/>
          <ac:spMkLst>
            <pc:docMk/>
            <pc:sldMk cId="552563287" sldId="2076137388"/>
            <ac:spMk id="16" creationId="{F82660D4-174E-494B-8138-62CC2BD92056}"/>
          </ac:spMkLst>
        </pc:spChg>
        <pc:spChg chg="mod">
          <ac:chgData name="Soraya G Sotudeh" userId="76c2cecb-13a5-4101-b93f-0776f653e718" providerId="ADAL" clId="{1AFDC898-F960-41F2-BACD-A8B829812B82}" dt="2021-01-27T19:18:03.107" v="276" actId="404"/>
          <ac:spMkLst>
            <pc:docMk/>
            <pc:sldMk cId="552563287" sldId="2076137388"/>
            <ac:spMk id="21" creationId="{97484700-38C9-49CC-AFE3-401E5C2E2E73}"/>
          </ac:spMkLst>
        </pc:spChg>
        <pc:picChg chg="del">
          <ac:chgData name="Soraya G Sotudeh" userId="76c2cecb-13a5-4101-b93f-0776f653e718" providerId="ADAL" clId="{1AFDC898-F960-41F2-BACD-A8B829812B82}" dt="2021-01-27T19:16:22.223" v="265" actId="478"/>
          <ac:picMkLst>
            <pc:docMk/>
            <pc:sldMk cId="552563287" sldId="2076137388"/>
            <ac:picMk id="10267" creationId="{53BAF8B1-1CCD-4D3D-AFA1-0EF70F336337}"/>
          </ac:picMkLst>
        </pc:picChg>
        <pc:picChg chg="add mod">
          <ac:chgData name="Soraya G Sotudeh" userId="76c2cecb-13a5-4101-b93f-0776f653e718" providerId="ADAL" clId="{1AFDC898-F960-41F2-BACD-A8B829812B82}" dt="2021-01-27T19:17:34.270" v="273" actId="1076"/>
          <ac:picMkLst>
            <pc:docMk/>
            <pc:sldMk cId="552563287" sldId="2076137388"/>
            <ac:picMk id="38914" creationId="{95A33044-305A-4846-85FC-690625210250}"/>
          </ac:picMkLst>
        </pc:picChg>
      </pc:sldChg>
      <pc:sldChg chg="addSp delSp modSp">
        <pc:chgData name="Soraya G Sotudeh" userId="76c2cecb-13a5-4101-b93f-0776f653e718" providerId="ADAL" clId="{1AFDC898-F960-41F2-BACD-A8B829812B82}" dt="2021-01-27T22:04:35.691" v="1140" actId="20577"/>
        <pc:sldMkLst>
          <pc:docMk/>
          <pc:sldMk cId="414200059" sldId="2076137389"/>
        </pc:sldMkLst>
        <pc:spChg chg="mod">
          <ac:chgData name="Soraya G Sotudeh" userId="76c2cecb-13a5-4101-b93f-0776f653e718" providerId="ADAL" clId="{1AFDC898-F960-41F2-BACD-A8B829812B82}" dt="2021-01-27T19:24:15.553" v="363" actId="20577"/>
          <ac:spMkLst>
            <pc:docMk/>
            <pc:sldMk cId="414200059" sldId="2076137389"/>
            <ac:spMk id="8" creationId="{62CA0B21-B744-FE43-A932-81C21120730C}"/>
          </ac:spMkLst>
        </pc:spChg>
        <pc:spChg chg="del mod">
          <ac:chgData name="Soraya G Sotudeh" userId="76c2cecb-13a5-4101-b93f-0776f653e718" providerId="ADAL" clId="{1AFDC898-F960-41F2-BACD-A8B829812B82}" dt="2021-01-27T19:22:32.929" v="332" actId="478"/>
          <ac:spMkLst>
            <pc:docMk/>
            <pc:sldMk cId="414200059" sldId="2076137389"/>
            <ac:spMk id="16" creationId="{F82660D4-174E-494B-8138-62CC2BD92056}"/>
          </ac:spMkLst>
        </pc:spChg>
        <pc:spChg chg="mod">
          <ac:chgData name="Soraya G Sotudeh" userId="76c2cecb-13a5-4101-b93f-0776f653e718" providerId="ADAL" clId="{1AFDC898-F960-41F2-BACD-A8B829812B82}" dt="2021-01-27T22:04:35.691" v="1140" actId="20577"/>
          <ac:spMkLst>
            <pc:docMk/>
            <pc:sldMk cId="414200059" sldId="2076137389"/>
            <ac:spMk id="21" creationId="{97484700-38C9-49CC-AFE3-401E5C2E2E73}"/>
          </ac:spMkLst>
        </pc:spChg>
        <pc:picChg chg="del">
          <ac:chgData name="Soraya G Sotudeh" userId="76c2cecb-13a5-4101-b93f-0776f653e718" providerId="ADAL" clId="{1AFDC898-F960-41F2-BACD-A8B829812B82}" dt="2021-01-27T19:20:45.696" v="318" actId="478"/>
          <ac:picMkLst>
            <pc:docMk/>
            <pc:sldMk cId="414200059" sldId="2076137389"/>
            <ac:picMk id="9243" creationId="{12F50947-16F6-4C5F-B48E-1C8D74BAC4C8}"/>
          </ac:picMkLst>
        </pc:picChg>
        <pc:picChg chg="del">
          <ac:chgData name="Soraya G Sotudeh" userId="76c2cecb-13a5-4101-b93f-0776f653e718" providerId="ADAL" clId="{1AFDC898-F960-41F2-BACD-A8B829812B82}" dt="2021-01-27T19:20:47.772" v="319" actId="478"/>
          <ac:picMkLst>
            <pc:docMk/>
            <pc:sldMk cId="414200059" sldId="2076137389"/>
            <ac:picMk id="9245" creationId="{D906397F-4652-4F0B-871B-33EC61A70AD5}"/>
          </ac:picMkLst>
        </pc:picChg>
        <pc:picChg chg="add mod">
          <ac:chgData name="Soraya G Sotudeh" userId="76c2cecb-13a5-4101-b93f-0776f653e718" providerId="ADAL" clId="{1AFDC898-F960-41F2-BACD-A8B829812B82}" dt="2021-01-27T19:22:27.716" v="330" actId="1076"/>
          <ac:picMkLst>
            <pc:docMk/>
            <pc:sldMk cId="414200059" sldId="2076137389"/>
            <ac:picMk id="39938" creationId="{2122D3D1-D5E5-45AB-AFA2-28B2D2EDCB9C}"/>
          </ac:picMkLst>
        </pc:picChg>
        <pc:picChg chg="add mod">
          <ac:chgData name="Soraya G Sotudeh" userId="76c2cecb-13a5-4101-b93f-0776f653e718" providerId="ADAL" clId="{1AFDC898-F960-41F2-BACD-A8B829812B82}" dt="2021-01-27T19:22:23.155" v="329" actId="167"/>
          <ac:picMkLst>
            <pc:docMk/>
            <pc:sldMk cId="414200059" sldId="2076137389"/>
            <ac:picMk id="39940" creationId="{3D34E562-E9A6-4056-8FC6-30A408F31FC2}"/>
          </ac:picMkLst>
        </pc:picChg>
      </pc:sldChg>
      <pc:sldChg chg="delSp add del">
        <pc:chgData name="Soraya G Sotudeh" userId="76c2cecb-13a5-4101-b93f-0776f653e718" providerId="ADAL" clId="{1AFDC898-F960-41F2-BACD-A8B829812B82}" dt="2021-01-27T19:16:50.250" v="268" actId="2696"/>
        <pc:sldMkLst>
          <pc:docMk/>
          <pc:sldMk cId="1088941263" sldId="2076137389"/>
        </pc:sldMkLst>
        <pc:picChg chg="del">
          <ac:chgData name="Soraya G Sotudeh" userId="76c2cecb-13a5-4101-b93f-0776f653e718" providerId="ADAL" clId="{1AFDC898-F960-41F2-BACD-A8B829812B82}" dt="2021-01-27T19:16:24.655" v="267" actId="478"/>
          <ac:picMkLst>
            <pc:docMk/>
            <pc:sldMk cId="1088941263" sldId="2076137389"/>
            <ac:picMk id="10267" creationId="{53BAF8B1-1CCD-4D3D-AFA1-0EF70F336337}"/>
          </ac:picMkLst>
        </pc:picChg>
      </pc:sldChg>
      <pc:sldChg chg="addSp delSp modSp">
        <pc:chgData name="Soraya G Sotudeh" userId="76c2cecb-13a5-4101-b93f-0776f653e718" providerId="ADAL" clId="{1AFDC898-F960-41F2-BACD-A8B829812B82}" dt="2021-01-27T19:24:02.409" v="346" actId="20577"/>
        <pc:sldMkLst>
          <pc:docMk/>
          <pc:sldMk cId="2034733267" sldId="2076137390"/>
        </pc:sldMkLst>
        <pc:spChg chg="mod">
          <ac:chgData name="Soraya G Sotudeh" userId="76c2cecb-13a5-4101-b93f-0776f653e718" providerId="ADAL" clId="{1AFDC898-F960-41F2-BACD-A8B829812B82}" dt="2021-01-27T19:24:02.409" v="346" actId="20577"/>
          <ac:spMkLst>
            <pc:docMk/>
            <pc:sldMk cId="2034733267" sldId="2076137390"/>
            <ac:spMk id="8" creationId="{62CA0B21-B744-FE43-A932-81C21120730C}"/>
          </ac:spMkLst>
        </pc:spChg>
        <pc:spChg chg="mod">
          <ac:chgData name="Soraya G Sotudeh" userId="76c2cecb-13a5-4101-b93f-0776f653e718" providerId="ADAL" clId="{1AFDC898-F960-41F2-BACD-A8B829812B82}" dt="2021-01-27T19:23:57.443" v="343" actId="255"/>
          <ac:spMkLst>
            <pc:docMk/>
            <pc:sldMk cId="2034733267" sldId="2076137390"/>
            <ac:spMk id="21" creationId="{97484700-38C9-49CC-AFE3-401E5C2E2E73}"/>
          </ac:spMkLst>
        </pc:spChg>
        <pc:picChg chg="del">
          <ac:chgData name="Soraya G Sotudeh" userId="76c2cecb-13a5-4101-b93f-0776f653e718" providerId="ADAL" clId="{1AFDC898-F960-41F2-BACD-A8B829812B82}" dt="2021-01-27T19:23:14.491" v="335" actId="478"/>
          <ac:picMkLst>
            <pc:docMk/>
            <pc:sldMk cId="2034733267" sldId="2076137390"/>
            <ac:picMk id="39938" creationId="{2122D3D1-D5E5-45AB-AFA2-28B2D2EDCB9C}"/>
          </ac:picMkLst>
        </pc:picChg>
        <pc:picChg chg="del">
          <ac:chgData name="Soraya G Sotudeh" userId="76c2cecb-13a5-4101-b93f-0776f653e718" providerId="ADAL" clId="{1AFDC898-F960-41F2-BACD-A8B829812B82}" dt="2021-01-27T19:23:14.491" v="335" actId="478"/>
          <ac:picMkLst>
            <pc:docMk/>
            <pc:sldMk cId="2034733267" sldId="2076137390"/>
            <ac:picMk id="39940" creationId="{3D34E562-E9A6-4056-8FC6-30A408F31FC2}"/>
          </ac:picMkLst>
        </pc:picChg>
        <pc:picChg chg="add mod">
          <ac:chgData name="Soraya G Sotudeh" userId="76c2cecb-13a5-4101-b93f-0776f653e718" providerId="ADAL" clId="{1AFDC898-F960-41F2-BACD-A8B829812B82}" dt="2021-01-27T19:23:32.470" v="339" actId="1076"/>
          <ac:picMkLst>
            <pc:docMk/>
            <pc:sldMk cId="2034733267" sldId="2076137390"/>
            <ac:picMk id="40962" creationId="{29707C27-05B5-4BD1-9962-89CD301488AD}"/>
          </ac:picMkLst>
        </pc:picChg>
      </pc:sldChg>
      <pc:sldChg chg="addSp delSp modSp ord">
        <pc:chgData name="Soraya G Sotudeh" userId="76c2cecb-13a5-4101-b93f-0776f653e718" providerId="ADAL" clId="{1AFDC898-F960-41F2-BACD-A8B829812B82}" dt="2021-01-27T19:26:55.573" v="399" actId="20577"/>
        <pc:sldMkLst>
          <pc:docMk/>
          <pc:sldMk cId="335893083" sldId="2076137391"/>
        </pc:sldMkLst>
        <pc:spChg chg="mod">
          <ac:chgData name="Soraya G Sotudeh" userId="76c2cecb-13a5-4101-b93f-0776f653e718" providerId="ADAL" clId="{1AFDC898-F960-41F2-BACD-A8B829812B82}" dt="2021-01-27T19:26:55.573" v="399" actId="20577"/>
          <ac:spMkLst>
            <pc:docMk/>
            <pc:sldMk cId="335893083" sldId="2076137391"/>
            <ac:spMk id="8" creationId="{62CA0B21-B744-FE43-A932-81C21120730C}"/>
          </ac:spMkLst>
        </pc:spChg>
        <pc:spChg chg="mod">
          <ac:chgData name="Soraya G Sotudeh" userId="76c2cecb-13a5-4101-b93f-0776f653e718" providerId="ADAL" clId="{1AFDC898-F960-41F2-BACD-A8B829812B82}" dt="2021-01-27T19:25:58.649" v="379" actId="2711"/>
          <ac:spMkLst>
            <pc:docMk/>
            <pc:sldMk cId="335893083" sldId="2076137391"/>
            <ac:spMk id="21" creationId="{97484700-38C9-49CC-AFE3-401E5C2E2E73}"/>
          </ac:spMkLst>
        </pc:spChg>
        <pc:picChg chg="del">
          <ac:chgData name="Soraya G Sotudeh" userId="76c2cecb-13a5-4101-b93f-0776f653e718" providerId="ADAL" clId="{1AFDC898-F960-41F2-BACD-A8B829812B82}" dt="2021-01-27T19:24:50.136" v="369" actId="478"/>
          <ac:picMkLst>
            <pc:docMk/>
            <pc:sldMk cId="335893083" sldId="2076137391"/>
            <ac:picMk id="39938" creationId="{2122D3D1-D5E5-45AB-AFA2-28B2D2EDCB9C}"/>
          </ac:picMkLst>
        </pc:picChg>
        <pc:picChg chg="del">
          <ac:chgData name="Soraya G Sotudeh" userId="76c2cecb-13a5-4101-b93f-0776f653e718" providerId="ADAL" clId="{1AFDC898-F960-41F2-BACD-A8B829812B82}" dt="2021-01-27T19:24:48.325" v="368" actId="478"/>
          <ac:picMkLst>
            <pc:docMk/>
            <pc:sldMk cId="335893083" sldId="2076137391"/>
            <ac:picMk id="39940" creationId="{3D34E562-E9A6-4056-8FC6-30A408F31FC2}"/>
          </ac:picMkLst>
        </pc:picChg>
        <pc:picChg chg="add mod">
          <ac:chgData name="Soraya G Sotudeh" userId="76c2cecb-13a5-4101-b93f-0776f653e718" providerId="ADAL" clId="{1AFDC898-F960-41F2-BACD-A8B829812B82}" dt="2021-01-27T19:25:37.224" v="375" actId="1076"/>
          <ac:picMkLst>
            <pc:docMk/>
            <pc:sldMk cId="335893083" sldId="2076137391"/>
            <ac:picMk id="41986" creationId="{5EBBB578-8DCD-47AC-BAA5-58990F9FA826}"/>
          </ac:picMkLst>
        </pc:picChg>
      </pc:sldChg>
      <pc:sldChg chg="del">
        <pc:chgData name="Soraya G Sotudeh" userId="76c2cecb-13a5-4101-b93f-0776f653e718" providerId="ADAL" clId="{1AFDC898-F960-41F2-BACD-A8B829812B82}" dt="2021-01-27T18:41:58.669" v="5" actId="2696"/>
        <pc:sldMkLst>
          <pc:docMk/>
          <pc:sldMk cId="1528714107" sldId="2076137391"/>
        </pc:sldMkLst>
      </pc:sldChg>
      <pc:sldChg chg="addSp delSp modSp">
        <pc:chgData name="Soraya G Sotudeh" userId="76c2cecb-13a5-4101-b93f-0776f653e718" providerId="ADAL" clId="{1AFDC898-F960-41F2-BACD-A8B829812B82}" dt="2021-01-27T19:28:45.112" v="444" actId="313"/>
        <pc:sldMkLst>
          <pc:docMk/>
          <pc:sldMk cId="1315619119" sldId="2076137392"/>
        </pc:sldMkLst>
        <pc:spChg chg="mod">
          <ac:chgData name="Soraya G Sotudeh" userId="76c2cecb-13a5-4101-b93f-0776f653e718" providerId="ADAL" clId="{1AFDC898-F960-41F2-BACD-A8B829812B82}" dt="2021-01-27T19:28:45.112" v="444" actId="313"/>
          <ac:spMkLst>
            <pc:docMk/>
            <pc:sldMk cId="1315619119" sldId="2076137392"/>
            <ac:spMk id="8" creationId="{62CA0B21-B744-FE43-A932-81C21120730C}"/>
          </ac:spMkLst>
        </pc:spChg>
        <pc:spChg chg="mod">
          <ac:chgData name="Soraya G Sotudeh" userId="76c2cecb-13a5-4101-b93f-0776f653e718" providerId="ADAL" clId="{1AFDC898-F960-41F2-BACD-A8B829812B82}" dt="2021-01-27T19:27:26.838" v="402" actId="2711"/>
          <ac:spMkLst>
            <pc:docMk/>
            <pc:sldMk cId="1315619119" sldId="2076137392"/>
            <ac:spMk id="21" creationId="{97484700-38C9-49CC-AFE3-401E5C2E2E73}"/>
          </ac:spMkLst>
        </pc:spChg>
        <pc:picChg chg="del">
          <ac:chgData name="Soraya G Sotudeh" userId="76c2cecb-13a5-4101-b93f-0776f653e718" providerId="ADAL" clId="{1AFDC898-F960-41F2-BACD-A8B829812B82}" dt="2021-01-27T19:27:29.553" v="403" actId="478"/>
          <ac:picMkLst>
            <pc:docMk/>
            <pc:sldMk cId="1315619119" sldId="2076137392"/>
            <ac:picMk id="41986" creationId="{5EBBB578-8DCD-47AC-BAA5-58990F9FA826}"/>
          </ac:picMkLst>
        </pc:picChg>
        <pc:picChg chg="add mod">
          <ac:chgData name="Soraya G Sotudeh" userId="76c2cecb-13a5-4101-b93f-0776f653e718" providerId="ADAL" clId="{1AFDC898-F960-41F2-BACD-A8B829812B82}" dt="2021-01-27T19:28:06.002" v="407" actId="1076"/>
          <ac:picMkLst>
            <pc:docMk/>
            <pc:sldMk cId="1315619119" sldId="2076137392"/>
            <ac:picMk id="43010" creationId="{D7DF62CD-B3C2-459A-8178-C6F24790C1D4}"/>
          </ac:picMkLst>
        </pc:picChg>
        <pc:picChg chg="add mod">
          <ac:chgData name="Soraya G Sotudeh" userId="76c2cecb-13a5-4101-b93f-0776f653e718" providerId="ADAL" clId="{1AFDC898-F960-41F2-BACD-A8B829812B82}" dt="2021-01-27T19:28:26.730" v="409" actId="1076"/>
          <ac:picMkLst>
            <pc:docMk/>
            <pc:sldMk cId="1315619119" sldId="2076137392"/>
            <ac:picMk id="43012" creationId="{4DDE1753-A01B-4EE6-946E-7BFFEBE6578C}"/>
          </ac:picMkLst>
        </pc:picChg>
      </pc:sldChg>
      <pc:sldChg chg="addSp delSp modSp">
        <pc:chgData name="Soraya G Sotudeh" userId="76c2cecb-13a5-4101-b93f-0776f653e718" providerId="ADAL" clId="{1AFDC898-F960-41F2-BACD-A8B829812B82}" dt="2021-01-27T19:37:52.129" v="609" actId="20577"/>
        <pc:sldMkLst>
          <pc:docMk/>
          <pc:sldMk cId="1691788814" sldId="2076137393"/>
        </pc:sldMkLst>
        <pc:spChg chg="mod">
          <ac:chgData name="Soraya G Sotudeh" userId="76c2cecb-13a5-4101-b93f-0776f653e718" providerId="ADAL" clId="{1AFDC898-F960-41F2-BACD-A8B829812B82}" dt="2021-01-27T19:37:52.129" v="609" actId="20577"/>
          <ac:spMkLst>
            <pc:docMk/>
            <pc:sldMk cId="1691788814" sldId="2076137393"/>
            <ac:spMk id="8" creationId="{62CA0B21-B744-FE43-A932-81C21120730C}"/>
          </ac:spMkLst>
        </pc:spChg>
        <pc:spChg chg="mod">
          <ac:chgData name="Soraya G Sotudeh" userId="76c2cecb-13a5-4101-b93f-0776f653e718" providerId="ADAL" clId="{1AFDC898-F960-41F2-BACD-A8B829812B82}" dt="2021-01-27T19:37:33.315" v="595" actId="404"/>
          <ac:spMkLst>
            <pc:docMk/>
            <pc:sldMk cId="1691788814" sldId="2076137393"/>
            <ac:spMk id="21" creationId="{97484700-38C9-49CC-AFE3-401E5C2E2E73}"/>
          </ac:spMkLst>
        </pc:spChg>
        <pc:picChg chg="del">
          <ac:chgData name="Soraya G Sotudeh" userId="76c2cecb-13a5-4101-b93f-0776f653e718" providerId="ADAL" clId="{1AFDC898-F960-41F2-BACD-A8B829812B82}" dt="2021-01-27T19:36:10.194" v="587" actId="478"/>
          <ac:picMkLst>
            <pc:docMk/>
            <pc:sldMk cId="1691788814" sldId="2076137393"/>
            <ac:picMk id="41986" creationId="{5EBBB578-8DCD-47AC-BAA5-58990F9FA826}"/>
          </ac:picMkLst>
        </pc:picChg>
        <pc:picChg chg="add mod">
          <ac:chgData name="Soraya G Sotudeh" userId="76c2cecb-13a5-4101-b93f-0776f653e718" providerId="ADAL" clId="{1AFDC898-F960-41F2-BACD-A8B829812B82}" dt="2021-01-27T19:36:35.558" v="592" actId="1076"/>
          <ac:picMkLst>
            <pc:docMk/>
            <pc:sldMk cId="1691788814" sldId="2076137393"/>
            <ac:picMk id="44034" creationId="{98D3C42A-103B-491F-AB3B-CC5CC538C510}"/>
          </ac:picMkLst>
        </pc:picChg>
      </pc:sldChg>
      <pc:sldChg chg="modSp del">
        <pc:chgData name="Soraya G Sotudeh" userId="76c2cecb-13a5-4101-b93f-0776f653e718" providerId="ADAL" clId="{1AFDC898-F960-41F2-BACD-A8B829812B82}" dt="2021-01-27T20:56:02.399" v="1035" actId="2696"/>
        <pc:sldMkLst>
          <pc:docMk/>
          <pc:sldMk cId="2491466233" sldId="2076137394"/>
        </pc:sldMkLst>
        <pc:spChg chg="mod">
          <ac:chgData name="Soraya G Sotudeh" userId="76c2cecb-13a5-4101-b93f-0776f653e718" providerId="ADAL" clId="{1AFDC898-F960-41F2-BACD-A8B829812B82}" dt="2021-01-27T20:28:53.138" v="857" actId="20577"/>
          <ac:spMkLst>
            <pc:docMk/>
            <pc:sldMk cId="2491466233" sldId="2076137394"/>
            <ac:spMk id="2" creationId="{6BEA930D-A79D-48B7-8C36-233F22E7D2AC}"/>
          </ac:spMkLst>
        </pc:spChg>
      </pc:sldChg>
      <pc:sldChg chg="modSp">
        <pc:chgData name="Soraya G Sotudeh" userId="76c2cecb-13a5-4101-b93f-0776f653e718" providerId="ADAL" clId="{1AFDC898-F960-41F2-BACD-A8B829812B82}" dt="2021-01-27T20:59:18.726" v="1079" actId="20577"/>
        <pc:sldMkLst>
          <pc:docMk/>
          <pc:sldMk cId="3769856173" sldId="2076137394"/>
        </pc:sldMkLst>
        <pc:spChg chg="mod">
          <ac:chgData name="Soraya G Sotudeh" userId="76c2cecb-13a5-4101-b93f-0776f653e718" providerId="ADAL" clId="{1AFDC898-F960-41F2-BACD-A8B829812B82}" dt="2021-01-27T20:59:18.726" v="1079" actId="20577"/>
          <ac:spMkLst>
            <pc:docMk/>
            <pc:sldMk cId="3769856173" sldId="2076137394"/>
            <ac:spMk id="5" creationId="{BADEDF88-32FC-4856-AE87-DB351D2708C1}"/>
          </ac:spMkLst>
        </pc:spChg>
      </pc:sldChg>
    </pc:docChg>
  </pc:docChgLst>
  <pc:docChgLst>
    <pc:chgData name="Gracie A Chewning" userId="9de9d667-e019-4a85-82bf-b9f50f141a0d" providerId="ADAL" clId="{3EA37BFC-F5A5-47F4-A7F6-CB1CAB26F8DE}"/>
    <pc:docChg chg="modSld">
      <pc:chgData name="Gracie A Chewning" userId="9de9d667-e019-4a85-82bf-b9f50f141a0d" providerId="ADAL" clId="{3EA37BFC-F5A5-47F4-A7F6-CB1CAB26F8DE}" dt="2021-02-01T16:44:56.796" v="32" actId="1582"/>
      <pc:docMkLst>
        <pc:docMk/>
      </pc:docMkLst>
      <pc:sldChg chg="modSp">
        <pc:chgData name="Gracie A Chewning" userId="9de9d667-e019-4a85-82bf-b9f50f141a0d" providerId="ADAL" clId="{3EA37BFC-F5A5-47F4-A7F6-CB1CAB26F8DE}" dt="2021-02-01T16:44:04.171" v="23" actId="1582"/>
        <pc:sldMkLst>
          <pc:docMk/>
          <pc:sldMk cId="1447221636" sldId="9079"/>
        </pc:sldMkLst>
        <pc:grpChg chg="mod">
          <ac:chgData name="Gracie A Chewning" userId="9de9d667-e019-4a85-82bf-b9f50f141a0d" providerId="ADAL" clId="{3EA37BFC-F5A5-47F4-A7F6-CB1CAB26F8DE}" dt="2021-02-01T16:43:55.625" v="21" actId="1076"/>
          <ac:grpSpMkLst>
            <pc:docMk/>
            <pc:sldMk cId="1447221636" sldId="9079"/>
            <ac:grpSpMk id="2" creationId="{91AE0983-0B49-4856-B2BE-4424B4B69601}"/>
          </ac:grpSpMkLst>
        </pc:grpChg>
        <pc:picChg chg="mod">
          <ac:chgData name="Gracie A Chewning" userId="9de9d667-e019-4a85-82bf-b9f50f141a0d" providerId="ADAL" clId="{3EA37BFC-F5A5-47F4-A7F6-CB1CAB26F8DE}" dt="2021-02-01T16:44:04.171" v="23" actId="1582"/>
          <ac:picMkLst>
            <pc:docMk/>
            <pc:sldMk cId="1447221636" sldId="9079"/>
            <ac:picMk id="20483" creationId="{530EC0D7-40AF-4EE2-A6D0-A417769577BA}"/>
          </ac:picMkLst>
        </pc:picChg>
      </pc:sldChg>
      <pc:sldChg chg="addSp modSp">
        <pc:chgData name="Gracie A Chewning" userId="9de9d667-e019-4a85-82bf-b9f50f141a0d" providerId="ADAL" clId="{3EA37BFC-F5A5-47F4-A7F6-CB1CAB26F8DE}" dt="2021-02-01T16:44:12.470" v="24" actId="1582"/>
        <pc:sldMkLst>
          <pc:docMk/>
          <pc:sldMk cId="494369478" sldId="9087"/>
        </pc:sldMkLst>
        <pc:grpChg chg="add mod">
          <ac:chgData name="Gracie A Chewning" userId="9de9d667-e019-4a85-82bf-b9f50f141a0d" providerId="ADAL" clId="{3EA37BFC-F5A5-47F4-A7F6-CB1CAB26F8DE}" dt="2021-02-01T16:13:40.360" v="5" actId="164"/>
          <ac:grpSpMkLst>
            <pc:docMk/>
            <pc:sldMk cId="494369478" sldId="9087"/>
            <ac:grpSpMk id="3" creationId="{12175721-D230-42DB-9F38-2F1FF8ECFC60}"/>
          </ac:grpSpMkLst>
        </pc:grpChg>
        <pc:grpChg chg="add mod">
          <ac:chgData name="Gracie A Chewning" userId="9de9d667-e019-4a85-82bf-b9f50f141a0d" providerId="ADAL" clId="{3EA37BFC-F5A5-47F4-A7F6-CB1CAB26F8DE}" dt="2021-02-01T16:13:40.360" v="5" actId="164"/>
          <ac:grpSpMkLst>
            <pc:docMk/>
            <pc:sldMk cId="494369478" sldId="9087"/>
            <ac:grpSpMk id="4" creationId="{B6EA1070-249E-4362-8103-A2E4FDBB376E}"/>
          </ac:grpSpMkLst>
        </pc:grpChg>
        <pc:picChg chg="mod">
          <ac:chgData name="Gracie A Chewning" userId="9de9d667-e019-4a85-82bf-b9f50f141a0d" providerId="ADAL" clId="{3EA37BFC-F5A5-47F4-A7F6-CB1CAB26F8DE}" dt="2021-02-01T16:13:29.558" v="4" actId="164"/>
          <ac:picMkLst>
            <pc:docMk/>
            <pc:sldMk cId="494369478" sldId="9087"/>
            <ac:picMk id="14" creationId="{4F38A0EE-4819-4A56-9072-7AF829077191}"/>
          </ac:picMkLst>
        </pc:picChg>
        <pc:picChg chg="mod">
          <ac:chgData name="Gracie A Chewning" userId="9de9d667-e019-4a85-82bf-b9f50f141a0d" providerId="ADAL" clId="{3EA37BFC-F5A5-47F4-A7F6-CB1CAB26F8DE}" dt="2021-02-01T16:44:12.470" v="24" actId="1582"/>
          <ac:picMkLst>
            <pc:docMk/>
            <pc:sldMk cId="494369478" sldId="9087"/>
            <ac:picMk id="22531" creationId="{D5A7F0C8-BE73-48C3-97BF-C66A25D559BE}"/>
          </ac:picMkLst>
        </pc:picChg>
        <pc:picChg chg="mod">
          <ac:chgData name="Gracie A Chewning" userId="9de9d667-e019-4a85-82bf-b9f50f141a0d" providerId="ADAL" clId="{3EA37BFC-F5A5-47F4-A7F6-CB1CAB26F8DE}" dt="2021-02-01T16:13:40.360" v="5" actId="164"/>
          <ac:picMkLst>
            <pc:docMk/>
            <pc:sldMk cId="494369478" sldId="9087"/>
            <ac:picMk id="22532" creationId="{B1E04C46-3BC7-4BEC-8754-072B4C930224}"/>
          </ac:picMkLst>
        </pc:picChg>
        <pc:picChg chg="mod">
          <ac:chgData name="Gracie A Chewning" userId="9de9d667-e019-4a85-82bf-b9f50f141a0d" providerId="ADAL" clId="{3EA37BFC-F5A5-47F4-A7F6-CB1CAB26F8DE}" dt="2021-02-01T16:44:12.470" v="24" actId="1582"/>
          <ac:picMkLst>
            <pc:docMk/>
            <pc:sldMk cId="494369478" sldId="9087"/>
            <ac:picMk id="22534" creationId="{44DFBAC4-8265-4474-8577-C74EB0C4AB71}"/>
          </ac:picMkLst>
        </pc:picChg>
      </pc:sldChg>
      <pc:sldChg chg="modSp">
        <pc:chgData name="Gracie A Chewning" userId="9de9d667-e019-4a85-82bf-b9f50f141a0d" providerId="ADAL" clId="{3EA37BFC-F5A5-47F4-A7F6-CB1CAB26F8DE}" dt="2021-02-01T16:44:20.955" v="25" actId="1582"/>
        <pc:sldMkLst>
          <pc:docMk/>
          <pc:sldMk cId="3773699427" sldId="2076137387"/>
        </pc:sldMkLst>
        <pc:picChg chg="mod">
          <ac:chgData name="Gracie A Chewning" userId="9de9d667-e019-4a85-82bf-b9f50f141a0d" providerId="ADAL" clId="{3EA37BFC-F5A5-47F4-A7F6-CB1CAB26F8DE}" dt="2021-02-01T16:44:20.955" v="25" actId="1582"/>
          <ac:picMkLst>
            <pc:docMk/>
            <pc:sldMk cId="3773699427" sldId="2076137387"/>
            <ac:picMk id="24579" creationId="{54B48591-2941-45FC-9F81-2DE1A32580B2}"/>
          </ac:picMkLst>
        </pc:picChg>
        <pc:picChg chg="mod">
          <ac:chgData name="Gracie A Chewning" userId="9de9d667-e019-4a85-82bf-b9f50f141a0d" providerId="ADAL" clId="{3EA37BFC-F5A5-47F4-A7F6-CB1CAB26F8DE}" dt="2021-02-01T16:44:20.955" v="25" actId="1582"/>
          <ac:picMkLst>
            <pc:docMk/>
            <pc:sldMk cId="3773699427" sldId="2076137387"/>
            <ac:picMk id="24581" creationId="{94D9E32F-B25C-4A34-9117-628C2B6E3166}"/>
          </ac:picMkLst>
        </pc:picChg>
      </pc:sldChg>
      <pc:sldChg chg="modSp">
        <pc:chgData name="Gracie A Chewning" userId="9de9d667-e019-4a85-82bf-b9f50f141a0d" providerId="ADAL" clId="{3EA37BFC-F5A5-47F4-A7F6-CB1CAB26F8DE}" dt="2021-02-01T16:44:32.397" v="28" actId="1582"/>
        <pc:sldMkLst>
          <pc:docMk/>
          <pc:sldMk cId="552563287" sldId="2076137388"/>
        </pc:sldMkLst>
        <pc:grpChg chg="mod">
          <ac:chgData name="Gracie A Chewning" userId="9de9d667-e019-4a85-82bf-b9f50f141a0d" providerId="ADAL" clId="{3EA37BFC-F5A5-47F4-A7F6-CB1CAB26F8DE}" dt="2021-02-01T16:44:26.427" v="27" actId="1076"/>
          <ac:grpSpMkLst>
            <pc:docMk/>
            <pc:sldMk cId="552563287" sldId="2076137388"/>
            <ac:grpSpMk id="2" creationId="{D4A8375A-426A-4804-B705-68C13E2DCDC7}"/>
          </ac:grpSpMkLst>
        </pc:grpChg>
        <pc:picChg chg="mod">
          <ac:chgData name="Gracie A Chewning" userId="9de9d667-e019-4a85-82bf-b9f50f141a0d" providerId="ADAL" clId="{3EA37BFC-F5A5-47F4-A7F6-CB1CAB26F8DE}" dt="2021-02-01T16:44:32.397" v="28" actId="1582"/>
          <ac:picMkLst>
            <pc:docMk/>
            <pc:sldMk cId="552563287" sldId="2076137388"/>
            <ac:picMk id="9" creationId="{DEB6858F-A314-46E9-AF77-D00CB481E3FF}"/>
          </ac:picMkLst>
        </pc:picChg>
      </pc:sldChg>
      <pc:sldChg chg="addSp modSp">
        <pc:chgData name="Gracie A Chewning" userId="9de9d667-e019-4a85-82bf-b9f50f141a0d" providerId="ADAL" clId="{3EA37BFC-F5A5-47F4-A7F6-CB1CAB26F8DE}" dt="2021-02-01T16:44:48.130" v="31" actId="1582"/>
        <pc:sldMkLst>
          <pc:docMk/>
          <pc:sldMk cId="414200059" sldId="2076137389"/>
        </pc:sldMkLst>
        <pc:grpChg chg="add mod">
          <ac:chgData name="Gracie A Chewning" userId="9de9d667-e019-4a85-82bf-b9f50f141a0d" providerId="ADAL" clId="{3EA37BFC-F5A5-47F4-A7F6-CB1CAB26F8DE}" dt="2021-02-01T16:44:41.121" v="30" actId="1076"/>
          <ac:grpSpMkLst>
            <pc:docMk/>
            <pc:sldMk cId="414200059" sldId="2076137389"/>
            <ac:grpSpMk id="2" creationId="{4B840613-3426-4E5E-9477-24E7F3026B4B}"/>
          </ac:grpSpMkLst>
        </pc:grpChg>
        <pc:picChg chg="mod">
          <ac:chgData name="Gracie A Chewning" userId="9de9d667-e019-4a85-82bf-b9f50f141a0d" providerId="ADAL" clId="{3EA37BFC-F5A5-47F4-A7F6-CB1CAB26F8DE}" dt="2021-02-01T16:44:48.130" v="31" actId="1582"/>
          <ac:picMkLst>
            <pc:docMk/>
            <pc:sldMk cId="414200059" sldId="2076137389"/>
            <ac:picMk id="10" creationId="{2E6996E6-A8FF-43A0-8D51-58E7FE140260}"/>
          </ac:picMkLst>
        </pc:picChg>
        <pc:picChg chg="mod">
          <ac:chgData name="Gracie A Chewning" userId="9de9d667-e019-4a85-82bf-b9f50f141a0d" providerId="ADAL" clId="{3EA37BFC-F5A5-47F4-A7F6-CB1CAB26F8DE}" dt="2021-02-01T16:22:54.625" v="17" actId="164"/>
          <ac:picMkLst>
            <pc:docMk/>
            <pc:sldMk cId="414200059" sldId="2076137389"/>
            <ac:picMk id="11" creationId="{28ABF78E-E594-46E7-A538-6742B54F56C4}"/>
          </ac:picMkLst>
        </pc:picChg>
      </pc:sldChg>
      <pc:sldChg chg="addSp modSp">
        <pc:chgData name="Gracie A Chewning" userId="9de9d667-e019-4a85-82bf-b9f50f141a0d" providerId="ADAL" clId="{3EA37BFC-F5A5-47F4-A7F6-CB1CAB26F8DE}" dt="2021-02-01T16:44:56.796" v="32" actId="1582"/>
        <pc:sldMkLst>
          <pc:docMk/>
          <pc:sldMk cId="2034733267" sldId="2076137390"/>
        </pc:sldMkLst>
        <pc:grpChg chg="add mod">
          <ac:chgData name="Gracie A Chewning" userId="9de9d667-e019-4a85-82bf-b9f50f141a0d" providerId="ADAL" clId="{3EA37BFC-F5A5-47F4-A7F6-CB1CAB26F8DE}" dt="2021-02-01T16:23:03.777" v="19" actId="1076"/>
          <ac:grpSpMkLst>
            <pc:docMk/>
            <pc:sldMk cId="2034733267" sldId="2076137390"/>
            <ac:grpSpMk id="2" creationId="{D5222F22-5217-466B-AF99-ED32213AD190}"/>
          </ac:grpSpMkLst>
        </pc:grpChg>
        <pc:picChg chg="mod">
          <ac:chgData name="Gracie A Chewning" userId="9de9d667-e019-4a85-82bf-b9f50f141a0d" providerId="ADAL" clId="{3EA37BFC-F5A5-47F4-A7F6-CB1CAB26F8DE}" dt="2021-02-01T16:44:56.796" v="32" actId="1582"/>
          <ac:picMkLst>
            <pc:docMk/>
            <pc:sldMk cId="2034733267" sldId="2076137390"/>
            <ac:picMk id="30723" creationId="{4073E249-129D-4537-AD4A-B059F792B05C}"/>
          </ac:picMkLst>
        </pc:picChg>
        <pc:picChg chg="mod">
          <ac:chgData name="Gracie A Chewning" userId="9de9d667-e019-4a85-82bf-b9f50f141a0d" providerId="ADAL" clId="{3EA37BFC-F5A5-47F4-A7F6-CB1CAB26F8DE}" dt="2021-02-01T16:14:19.148" v="11" actId="164"/>
          <ac:picMkLst>
            <pc:docMk/>
            <pc:sldMk cId="2034733267" sldId="2076137390"/>
            <ac:picMk id="30725" creationId="{05ED6FFA-519C-4287-9007-3B0B2FD3F49B}"/>
          </ac:picMkLst>
        </pc:picChg>
      </pc:sldChg>
    </pc:docChg>
  </pc:docChgLst>
  <pc:docChgLst>
    <pc:chgData name="Soraya G Sotudeh" userId="76c2cecb-13a5-4101-b93f-0776f653e718" providerId="ADAL" clId="{2D3B7591-C720-4DF0-A3CD-EFF1561A4044}"/>
    <pc:docChg chg="undo custSel addSld delSld modSld sldOrd">
      <pc:chgData name="Soraya G Sotudeh" userId="76c2cecb-13a5-4101-b93f-0776f653e718" providerId="ADAL" clId="{2D3B7591-C720-4DF0-A3CD-EFF1561A4044}" dt="2021-01-27T23:10:29.235" v="687" actId="20577"/>
      <pc:docMkLst>
        <pc:docMk/>
      </pc:docMkLst>
      <pc:sldChg chg="modSp">
        <pc:chgData name="Soraya G Sotudeh" userId="76c2cecb-13a5-4101-b93f-0776f653e718" providerId="ADAL" clId="{2D3B7591-C720-4DF0-A3CD-EFF1561A4044}" dt="2021-01-27T22:18:33.494" v="10" actId="20577"/>
        <pc:sldMkLst>
          <pc:docMk/>
          <pc:sldMk cId="24598589" sldId="9040"/>
        </pc:sldMkLst>
        <pc:spChg chg="mod">
          <ac:chgData name="Soraya G Sotudeh" userId="76c2cecb-13a5-4101-b93f-0776f653e718" providerId="ADAL" clId="{2D3B7591-C720-4DF0-A3CD-EFF1561A4044}" dt="2021-01-27T22:18:33.494" v="10" actId="20577"/>
          <ac:spMkLst>
            <pc:docMk/>
            <pc:sldMk cId="24598589" sldId="9040"/>
            <ac:spMk id="2" creationId="{BC00BD3B-220C-784F-A2E2-B8BF525AC13A}"/>
          </ac:spMkLst>
        </pc:spChg>
      </pc:sldChg>
      <pc:sldChg chg="modSp">
        <pc:chgData name="Soraya G Sotudeh" userId="76c2cecb-13a5-4101-b93f-0776f653e718" providerId="ADAL" clId="{2D3B7591-C720-4DF0-A3CD-EFF1561A4044}" dt="2021-01-27T23:10:29.235" v="687" actId="20577"/>
        <pc:sldMkLst>
          <pc:docMk/>
          <pc:sldMk cId="3123279992" sldId="9070"/>
        </pc:sldMkLst>
        <pc:graphicFrameChg chg="modGraphic">
          <ac:chgData name="Soraya G Sotudeh" userId="76c2cecb-13a5-4101-b93f-0776f653e718" providerId="ADAL" clId="{2D3B7591-C720-4DF0-A3CD-EFF1561A4044}" dt="2021-01-27T23:10:29.235" v="687" actId="20577"/>
          <ac:graphicFrameMkLst>
            <pc:docMk/>
            <pc:sldMk cId="3123279992" sldId="9070"/>
            <ac:graphicFrameMk id="6" creationId="{78B1BD31-3AF9-4B81-93FC-7241460106EA}"/>
          </ac:graphicFrameMkLst>
        </pc:graphicFrameChg>
      </pc:sldChg>
      <pc:sldChg chg="addSp delSp modSp">
        <pc:chgData name="Soraya G Sotudeh" userId="76c2cecb-13a5-4101-b93f-0776f653e718" providerId="ADAL" clId="{2D3B7591-C720-4DF0-A3CD-EFF1561A4044}" dt="2021-01-27T23:06:36.401" v="602" actId="20577"/>
        <pc:sldMkLst>
          <pc:docMk/>
          <pc:sldMk cId="1447221636" sldId="9079"/>
        </pc:sldMkLst>
        <pc:spChg chg="mod">
          <ac:chgData name="Soraya G Sotudeh" userId="76c2cecb-13a5-4101-b93f-0776f653e718" providerId="ADAL" clId="{2D3B7591-C720-4DF0-A3CD-EFF1561A4044}" dt="2021-01-27T22:42:59.450" v="148" actId="20577"/>
          <ac:spMkLst>
            <pc:docMk/>
            <pc:sldMk cId="1447221636" sldId="9079"/>
            <ac:spMk id="8" creationId="{62CA0B21-B744-FE43-A932-81C21120730C}"/>
          </ac:spMkLst>
        </pc:spChg>
        <pc:spChg chg="mod">
          <ac:chgData name="Soraya G Sotudeh" userId="76c2cecb-13a5-4101-b93f-0776f653e718" providerId="ADAL" clId="{2D3B7591-C720-4DF0-A3CD-EFF1561A4044}" dt="2021-01-27T22:30:04.325" v="68" actId="20577"/>
          <ac:spMkLst>
            <pc:docMk/>
            <pc:sldMk cId="1447221636" sldId="9079"/>
            <ac:spMk id="13" creationId="{512C98CA-0CF8-4EA9-A3B6-4D0C2F533E60}"/>
          </ac:spMkLst>
        </pc:spChg>
        <pc:spChg chg="mod">
          <ac:chgData name="Soraya G Sotudeh" userId="76c2cecb-13a5-4101-b93f-0776f653e718" providerId="ADAL" clId="{2D3B7591-C720-4DF0-A3CD-EFF1561A4044}" dt="2021-01-27T22:20:06.344" v="28" actId="20577"/>
          <ac:spMkLst>
            <pc:docMk/>
            <pc:sldMk cId="1447221636" sldId="9079"/>
            <ac:spMk id="14" creationId="{C8790A2E-14EC-431A-8D3D-A0C0112FFD41}"/>
          </ac:spMkLst>
        </pc:spChg>
        <pc:spChg chg="mod">
          <ac:chgData name="Soraya G Sotudeh" userId="76c2cecb-13a5-4101-b93f-0776f653e718" providerId="ADAL" clId="{2D3B7591-C720-4DF0-A3CD-EFF1561A4044}" dt="2021-01-27T23:06:36.401" v="602" actId="20577"/>
          <ac:spMkLst>
            <pc:docMk/>
            <pc:sldMk cId="1447221636" sldId="9079"/>
            <ac:spMk id="21" creationId="{97484700-38C9-49CC-AFE3-401E5C2E2E73}"/>
          </ac:spMkLst>
        </pc:spChg>
        <pc:picChg chg="del">
          <ac:chgData name="Soraya G Sotudeh" userId="76c2cecb-13a5-4101-b93f-0776f653e718" providerId="ADAL" clId="{2D3B7591-C720-4DF0-A3CD-EFF1561A4044}" dt="2021-01-27T22:22:42.948" v="39" actId="478"/>
          <ac:picMkLst>
            <pc:docMk/>
            <pc:sldMk cId="1447221636" sldId="9079"/>
            <ac:picMk id="8219" creationId="{C1571F65-432E-40B2-ABA0-D994F289E037}"/>
          </ac:picMkLst>
        </pc:picChg>
        <pc:picChg chg="add mod">
          <ac:chgData name="Soraya G Sotudeh" userId="76c2cecb-13a5-4101-b93f-0776f653e718" providerId="ADAL" clId="{2D3B7591-C720-4DF0-A3CD-EFF1561A4044}" dt="2021-01-27T22:24:53.793" v="50" actId="1076"/>
          <ac:picMkLst>
            <pc:docMk/>
            <pc:sldMk cId="1447221636" sldId="9079"/>
            <ac:picMk id="20483" creationId="{530EC0D7-40AF-4EE2-A6D0-A417769577BA}"/>
          </ac:picMkLst>
        </pc:picChg>
        <pc:picChg chg="add mod">
          <ac:chgData name="Soraya G Sotudeh" userId="76c2cecb-13a5-4101-b93f-0776f653e718" providerId="ADAL" clId="{2D3B7591-C720-4DF0-A3CD-EFF1561A4044}" dt="2021-01-27T22:27:51.959" v="55" actId="1037"/>
          <ac:picMkLst>
            <pc:docMk/>
            <pc:sldMk cId="1447221636" sldId="9079"/>
            <ac:picMk id="20485" creationId="{9A3B2A1E-2E50-4C51-875F-D697D7D48E2E}"/>
          </ac:picMkLst>
        </pc:picChg>
      </pc:sldChg>
      <pc:sldChg chg="addSp delSp modSp">
        <pc:chgData name="Soraya G Sotudeh" userId="76c2cecb-13a5-4101-b93f-0776f653e718" providerId="ADAL" clId="{2D3B7591-C720-4DF0-A3CD-EFF1561A4044}" dt="2021-01-27T23:07:32.832" v="646" actId="14100"/>
        <pc:sldMkLst>
          <pc:docMk/>
          <pc:sldMk cId="494369478" sldId="9087"/>
        </pc:sldMkLst>
        <pc:spChg chg="add mod">
          <ac:chgData name="Soraya G Sotudeh" userId="76c2cecb-13a5-4101-b93f-0776f653e718" providerId="ADAL" clId="{2D3B7591-C720-4DF0-A3CD-EFF1561A4044}" dt="2021-01-27T23:07:32.832" v="646" actId="14100"/>
          <ac:spMkLst>
            <pc:docMk/>
            <pc:sldMk cId="494369478" sldId="9087"/>
            <ac:spMk id="2" creationId="{19D9FEA9-893F-409A-824E-92957ECDACE1}"/>
          </ac:spMkLst>
        </pc:spChg>
        <pc:spChg chg="mod">
          <ac:chgData name="Soraya G Sotudeh" userId="76c2cecb-13a5-4101-b93f-0776f653e718" providerId="ADAL" clId="{2D3B7591-C720-4DF0-A3CD-EFF1561A4044}" dt="2021-01-27T22:47:47.283" v="251" actId="20577"/>
          <ac:spMkLst>
            <pc:docMk/>
            <pc:sldMk cId="494369478" sldId="9087"/>
            <ac:spMk id="8" creationId="{62CA0B21-B744-FE43-A932-81C21120730C}"/>
          </ac:spMkLst>
        </pc:spChg>
        <pc:spChg chg="del">
          <ac:chgData name="Soraya G Sotudeh" userId="76c2cecb-13a5-4101-b93f-0776f653e718" providerId="ADAL" clId="{2D3B7591-C720-4DF0-A3CD-EFF1561A4044}" dt="2021-01-27T22:45:47.472" v="168" actId="478"/>
          <ac:spMkLst>
            <pc:docMk/>
            <pc:sldMk cId="494369478" sldId="9087"/>
            <ac:spMk id="16" creationId="{F82660D4-174E-494B-8138-62CC2BD92056}"/>
          </ac:spMkLst>
        </pc:spChg>
        <pc:spChg chg="mod">
          <ac:chgData name="Soraya G Sotudeh" userId="76c2cecb-13a5-4101-b93f-0776f653e718" providerId="ADAL" clId="{2D3B7591-C720-4DF0-A3CD-EFF1561A4044}" dt="2021-01-27T22:20:12.928" v="29"/>
          <ac:spMkLst>
            <pc:docMk/>
            <pc:sldMk cId="494369478" sldId="9087"/>
            <ac:spMk id="20" creationId="{3CEF303B-DAEF-4960-8212-6FDC11DC4F7B}"/>
          </ac:spMkLst>
        </pc:spChg>
        <pc:spChg chg="mod">
          <ac:chgData name="Soraya G Sotudeh" userId="76c2cecb-13a5-4101-b93f-0776f653e718" providerId="ADAL" clId="{2D3B7591-C720-4DF0-A3CD-EFF1561A4044}" dt="2021-01-27T23:07:15.165" v="605" actId="20577"/>
          <ac:spMkLst>
            <pc:docMk/>
            <pc:sldMk cId="494369478" sldId="9087"/>
            <ac:spMk id="21" creationId="{97484700-38C9-49CC-AFE3-401E5C2E2E73}"/>
          </ac:spMkLst>
        </pc:spChg>
        <pc:picChg chg="add mod">
          <ac:chgData name="Soraya G Sotudeh" userId="76c2cecb-13a5-4101-b93f-0776f653e718" providerId="ADAL" clId="{2D3B7591-C720-4DF0-A3CD-EFF1561A4044}" dt="2021-01-27T23:07:22.084" v="643" actId="1035"/>
          <ac:picMkLst>
            <pc:docMk/>
            <pc:sldMk cId="494369478" sldId="9087"/>
            <ac:picMk id="14" creationId="{4F38A0EE-4819-4A56-9072-7AF829077191}"/>
          </ac:picMkLst>
        </pc:picChg>
        <pc:picChg chg="del">
          <ac:chgData name="Soraya G Sotudeh" userId="76c2cecb-13a5-4101-b93f-0776f653e718" providerId="ADAL" clId="{2D3B7591-C720-4DF0-A3CD-EFF1561A4044}" dt="2021-01-27T22:31:47.648" v="72" actId="478"/>
          <ac:picMkLst>
            <pc:docMk/>
            <pc:sldMk cId="494369478" sldId="9087"/>
            <ac:picMk id="9243" creationId="{12F50947-16F6-4C5F-B48E-1C8D74BAC4C8}"/>
          </ac:picMkLst>
        </pc:picChg>
        <pc:picChg chg="del">
          <ac:chgData name="Soraya G Sotudeh" userId="76c2cecb-13a5-4101-b93f-0776f653e718" providerId="ADAL" clId="{2D3B7591-C720-4DF0-A3CD-EFF1561A4044}" dt="2021-01-27T22:31:49.522" v="73" actId="478"/>
          <ac:picMkLst>
            <pc:docMk/>
            <pc:sldMk cId="494369478" sldId="9087"/>
            <ac:picMk id="9245" creationId="{D906397F-4652-4F0B-871B-33EC61A70AD5}"/>
          </ac:picMkLst>
        </pc:picChg>
        <pc:picChg chg="add mod">
          <ac:chgData name="Soraya G Sotudeh" userId="76c2cecb-13a5-4101-b93f-0776f653e718" providerId="ADAL" clId="{2D3B7591-C720-4DF0-A3CD-EFF1561A4044}" dt="2021-01-27T23:07:22.084" v="643" actId="1035"/>
          <ac:picMkLst>
            <pc:docMk/>
            <pc:sldMk cId="494369478" sldId="9087"/>
            <ac:picMk id="22531" creationId="{D5A7F0C8-BE73-48C3-97BF-C66A25D559BE}"/>
          </ac:picMkLst>
        </pc:picChg>
        <pc:picChg chg="add mod">
          <ac:chgData name="Soraya G Sotudeh" userId="76c2cecb-13a5-4101-b93f-0776f653e718" providerId="ADAL" clId="{2D3B7591-C720-4DF0-A3CD-EFF1561A4044}" dt="2021-01-27T23:07:22.084" v="643" actId="1035"/>
          <ac:picMkLst>
            <pc:docMk/>
            <pc:sldMk cId="494369478" sldId="9087"/>
            <ac:picMk id="22532" creationId="{B1E04C46-3BC7-4BEC-8754-072B4C930224}"/>
          </ac:picMkLst>
        </pc:picChg>
        <pc:picChg chg="add mod">
          <ac:chgData name="Soraya G Sotudeh" userId="76c2cecb-13a5-4101-b93f-0776f653e718" providerId="ADAL" clId="{2D3B7591-C720-4DF0-A3CD-EFF1561A4044}" dt="2021-01-27T23:07:22.084" v="643" actId="1035"/>
          <ac:picMkLst>
            <pc:docMk/>
            <pc:sldMk cId="494369478" sldId="9087"/>
            <ac:picMk id="22534" creationId="{44DFBAC4-8265-4474-8577-C74EB0C4AB71}"/>
          </ac:picMkLst>
        </pc:picChg>
      </pc:sldChg>
      <pc:sldChg chg="modSp del">
        <pc:chgData name="Soraya G Sotudeh" userId="76c2cecb-13a5-4101-b93f-0776f653e718" providerId="ADAL" clId="{2D3B7591-C720-4DF0-A3CD-EFF1561A4044}" dt="2021-01-27T23:01:13.535" v="514" actId="2696"/>
        <pc:sldMkLst>
          <pc:docMk/>
          <pc:sldMk cId="3443520972" sldId="9089"/>
        </pc:sldMkLst>
        <pc:spChg chg="mod">
          <ac:chgData name="Soraya G Sotudeh" userId="76c2cecb-13a5-4101-b93f-0776f653e718" providerId="ADAL" clId="{2D3B7591-C720-4DF0-A3CD-EFF1561A4044}" dt="2021-01-27T22:20:41.083" v="36"/>
          <ac:spMkLst>
            <pc:docMk/>
            <pc:sldMk cId="3443520972" sldId="9089"/>
            <ac:spMk id="12" creationId="{78631230-9BFB-451F-A6CD-70D497EB7052}"/>
          </ac:spMkLst>
        </pc:spChg>
      </pc:sldChg>
      <pc:sldChg chg="modSp">
        <pc:chgData name="Soraya G Sotudeh" userId="76c2cecb-13a5-4101-b93f-0776f653e718" providerId="ADAL" clId="{2D3B7591-C720-4DF0-A3CD-EFF1561A4044}" dt="2021-01-27T23:05:56.891" v="601" actId="20577"/>
        <pc:sldMkLst>
          <pc:docMk/>
          <pc:sldMk cId="3598891342" sldId="2076137379"/>
        </pc:sldMkLst>
        <pc:spChg chg="mod">
          <ac:chgData name="Soraya G Sotudeh" userId="76c2cecb-13a5-4101-b93f-0776f653e718" providerId="ADAL" clId="{2D3B7591-C720-4DF0-A3CD-EFF1561A4044}" dt="2021-01-27T23:05:56.891" v="601" actId="20577"/>
          <ac:spMkLst>
            <pc:docMk/>
            <pc:sldMk cId="3598891342" sldId="2076137379"/>
            <ac:spMk id="124" creationId="{46ED309E-F59D-45A0-B1EE-99B4AA64F61D}"/>
          </ac:spMkLst>
        </pc:spChg>
      </pc:sldChg>
      <pc:sldChg chg="addSp delSp modSp">
        <pc:chgData name="Soraya G Sotudeh" userId="76c2cecb-13a5-4101-b93f-0776f653e718" providerId="ADAL" clId="{2D3B7591-C720-4DF0-A3CD-EFF1561A4044}" dt="2021-01-27T22:56:38.105" v="430" actId="1036"/>
        <pc:sldMkLst>
          <pc:docMk/>
          <pc:sldMk cId="3773699427" sldId="2076137387"/>
        </pc:sldMkLst>
        <pc:spChg chg="add mod">
          <ac:chgData name="Soraya G Sotudeh" userId="76c2cecb-13a5-4101-b93f-0776f653e718" providerId="ADAL" clId="{2D3B7591-C720-4DF0-A3CD-EFF1561A4044}" dt="2021-01-27T22:52:50.420" v="371" actId="1076"/>
          <ac:spMkLst>
            <pc:docMk/>
            <pc:sldMk cId="3773699427" sldId="2076137387"/>
            <ac:spMk id="2" creationId="{183C4EC3-FB2B-48A6-B134-D8101EB18A23}"/>
          </ac:spMkLst>
        </pc:spChg>
        <pc:spChg chg="add del mod">
          <ac:chgData name="Soraya G Sotudeh" userId="76c2cecb-13a5-4101-b93f-0776f653e718" providerId="ADAL" clId="{2D3B7591-C720-4DF0-A3CD-EFF1561A4044}" dt="2021-01-27T22:49:50.347" v="264" actId="478"/>
          <ac:spMkLst>
            <pc:docMk/>
            <pc:sldMk cId="3773699427" sldId="2076137387"/>
            <ac:spMk id="3" creationId="{B59EED2C-5A38-459D-B3E2-7B73B279110E}"/>
          </ac:spMkLst>
        </pc:spChg>
        <pc:spChg chg="mod">
          <ac:chgData name="Soraya G Sotudeh" userId="76c2cecb-13a5-4101-b93f-0776f653e718" providerId="ADAL" clId="{2D3B7591-C720-4DF0-A3CD-EFF1561A4044}" dt="2021-01-27T22:47:41.557" v="242" actId="20577"/>
          <ac:spMkLst>
            <pc:docMk/>
            <pc:sldMk cId="3773699427" sldId="2076137387"/>
            <ac:spMk id="8" creationId="{62CA0B21-B744-FE43-A932-81C21120730C}"/>
          </ac:spMkLst>
        </pc:spChg>
        <pc:spChg chg="mod">
          <ac:chgData name="Soraya G Sotudeh" userId="76c2cecb-13a5-4101-b93f-0776f653e718" providerId="ADAL" clId="{2D3B7591-C720-4DF0-A3CD-EFF1561A4044}" dt="2021-01-27T22:20:17.419" v="30"/>
          <ac:spMkLst>
            <pc:docMk/>
            <pc:sldMk cId="3773699427" sldId="2076137387"/>
            <ac:spMk id="14" creationId="{95F0D1EB-18E1-4500-AAE6-A4CD090D37E8}"/>
          </ac:spMkLst>
        </pc:spChg>
        <pc:spChg chg="mod">
          <ac:chgData name="Soraya G Sotudeh" userId="76c2cecb-13a5-4101-b93f-0776f653e718" providerId="ADAL" clId="{2D3B7591-C720-4DF0-A3CD-EFF1561A4044}" dt="2021-01-27T22:56:18.358" v="427" actId="20577"/>
          <ac:spMkLst>
            <pc:docMk/>
            <pc:sldMk cId="3773699427" sldId="2076137387"/>
            <ac:spMk id="16" creationId="{F82660D4-174E-494B-8138-62CC2BD92056}"/>
          </ac:spMkLst>
        </pc:spChg>
        <pc:spChg chg="mod">
          <ac:chgData name="Soraya G Sotudeh" userId="76c2cecb-13a5-4101-b93f-0776f653e718" providerId="ADAL" clId="{2D3B7591-C720-4DF0-A3CD-EFF1561A4044}" dt="2021-01-27T22:53:23.875" v="375" actId="1076"/>
          <ac:spMkLst>
            <pc:docMk/>
            <pc:sldMk cId="3773699427" sldId="2076137387"/>
            <ac:spMk id="21" creationId="{97484700-38C9-49CC-AFE3-401E5C2E2E73}"/>
          </ac:spMkLst>
        </pc:spChg>
        <pc:picChg chg="del">
          <ac:chgData name="Soraya G Sotudeh" userId="76c2cecb-13a5-4101-b93f-0776f653e718" providerId="ADAL" clId="{2D3B7591-C720-4DF0-A3CD-EFF1561A4044}" dt="2021-01-27T22:46:28.775" v="174" actId="478"/>
          <ac:picMkLst>
            <pc:docMk/>
            <pc:sldMk cId="3773699427" sldId="2076137387"/>
            <ac:picMk id="5" creationId="{E66544D9-C1F9-4C10-90DD-DE9E0668C7FA}"/>
          </ac:picMkLst>
        </pc:picChg>
        <pc:picChg chg="add mod">
          <ac:chgData name="Soraya G Sotudeh" userId="76c2cecb-13a5-4101-b93f-0776f653e718" providerId="ADAL" clId="{2D3B7591-C720-4DF0-A3CD-EFF1561A4044}" dt="2021-01-27T22:53:40.726" v="378" actId="1076"/>
          <ac:picMkLst>
            <pc:docMk/>
            <pc:sldMk cId="3773699427" sldId="2076137387"/>
            <ac:picMk id="24579" creationId="{54B48591-2941-45FC-9F81-2DE1A32580B2}"/>
          </ac:picMkLst>
        </pc:picChg>
        <pc:picChg chg="add mod">
          <ac:chgData name="Soraya G Sotudeh" userId="76c2cecb-13a5-4101-b93f-0776f653e718" providerId="ADAL" clId="{2D3B7591-C720-4DF0-A3CD-EFF1561A4044}" dt="2021-01-27T22:56:38.105" v="430" actId="1036"/>
          <ac:picMkLst>
            <pc:docMk/>
            <pc:sldMk cId="3773699427" sldId="2076137387"/>
            <ac:picMk id="24581" creationId="{94D9E32F-B25C-4A34-9117-628C2B6E3166}"/>
          </ac:picMkLst>
        </pc:picChg>
      </pc:sldChg>
      <pc:sldChg chg="addSp delSp modSp">
        <pc:chgData name="Soraya G Sotudeh" userId="76c2cecb-13a5-4101-b93f-0776f653e718" providerId="ADAL" clId="{2D3B7591-C720-4DF0-A3CD-EFF1561A4044}" dt="2021-01-27T22:58:21.873" v="468" actId="1076"/>
        <pc:sldMkLst>
          <pc:docMk/>
          <pc:sldMk cId="552563287" sldId="2076137388"/>
        </pc:sldMkLst>
        <pc:spChg chg="del">
          <ac:chgData name="Soraya G Sotudeh" userId="76c2cecb-13a5-4101-b93f-0776f653e718" providerId="ADAL" clId="{2D3B7591-C720-4DF0-A3CD-EFF1561A4044}" dt="2021-01-27T22:57:24.187" v="460" actId="478"/>
          <ac:spMkLst>
            <pc:docMk/>
            <pc:sldMk cId="552563287" sldId="2076137388"/>
            <ac:spMk id="2" creationId="{EB37ED5B-7CDA-47D6-ACD7-9CE5DDAEA67C}"/>
          </ac:spMkLst>
        </pc:spChg>
        <pc:spChg chg="mod">
          <ac:chgData name="Soraya G Sotudeh" userId="76c2cecb-13a5-4101-b93f-0776f653e718" providerId="ADAL" clId="{2D3B7591-C720-4DF0-A3CD-EFF1561A4044}" dt="2021-01-27T22:57:15.207" v="459" actId="20577"/>
          <ac:spMkLst>
            <pc:docMk/>
            <pc:sldMk cId="552563287" sldId="2076137388"/>
            <ac:spMk id="8" creationId="{62CA0B21-B744-FE43-A932-81C21120730C}"/>
          </ac:spMkLst>
        </pc:spChg>
        <pc:spChg chg="mod">
          <ac:chgData name="Soraya G Sotudeh" userId="76c2cecb-13a5-4101-b93f-0776f653e718" providerId="ADAL" clId="{2D3B7591-C720-4DF0-A3CD-EFF1561A4044}" dt="2021-01-27T22:20:21.516" v="31"/>
          <ac:spMkLst>
            <pc:docMk/>
            <pc:sldMk cId="552563287" sldId="2076137388"/>
            <ac:spMk id="14" creationId="{95F0D1EB-18E1-4500-AAE6-A4CD090D37E8}"/>
          </ac:spMkLst>
        </pc:spChg>
        <pc:spChg chg="mod">
          <ac:chgData name="Soraya G Sotudeh" userId="76c2cecb-13a5-4101-b93f-0776f653e718" providerId="ADAL" clId="{2D3B7591-C720-4DF0-A3CD-EFF1561A4044}" dt="2021-01-27T22:57:03.831" v="435" actId="2711"/>
          <ac:spMkLst>
            <pc:docMk/>
            <pc:sldMk cId="552563287" sldId="2076137388"/>
            <ac:spMk id="21" creationId="{97484700-38C9-49CC-AFE3-401E5C2E2E73}"/>
          </ac:spMkLst>
        </pc:spChg>
        <pc:picChg chg="add mod">
          <ac:chgData name="Soraya G Sotudeh" userId="76c2cecb-13a5-4101-b93f-0776f653e718" providerId="ADAL" clId="{2D3B7591-C720-4DF0-A3CD-EFF1561A4044}" dt="2021-01-27T22:57:54.358" v="464" actId="1076"/>
          <ac:picMkLst>
            <pc:docMk/>
            <pc:sldMk cId="552563287" sldId="2076137388"/>
            <ac:picMk id="9" creationId="{DEB6858F-A314-46E9-AF77-D00CB481E3FF}"/>
          </ac:picMkLst>
        </pc:picChg>
        <pc:picChg chg="add mod">
          <ac:chgData name="Soraya G Sotudeh" userId="76c2cecb-13a5-4101-b93f-0776f653e718" providerId="ADAL" clId="{2D3B7591-C720-4DF0-A3CD-EFF1561A4044}" dt="2021-01-27T22:58:21.873" v="468" actId="1076"/>
          <ac:picMkLst>
            <pc:docMk/>
            <pc:sldMk cId="552563287" sldId="2076137388"/>
            <ac:picMk id="10" creationId="{8DBC01FA-848D-42BB-8A48-2931363B4611}"/>
          </ac:picMkLst>
        </pc:picChg>
        <pc:picChg chg="del">
          <ac:chgData name="Soraya G Sotudeh" userId="76c2cecb-13a5-4101-b93f-0776f653e718" providerId="ADAL" clId="{2D3B7591-C720-4DF0-A3CD-EFF1561A4044}" dt="2021-01-27T22:57:06.744" v="436" actId="478"/>
          <ac:picMkLst>
            <pc:docMk/>
            <pc:sldMk cId="552563287" sldId="2076137388"/>
            <ac:picMk id="38914" creationId="{95A33044-305A-4846-85FC-690625210250}"/>
          </ac:picMkLst>
        </pc:picChg>
      </pc:sldChg>
      <pc:sldChg chg="addSp delSp modSp">
        <pc:chgData name="Soraya G Sotudeh" userId="76c2cecb-13a5-4101-b93f-0776f653e718" providerId="ADAL" clId="{2D3B7591-C720-4DF0-A3CD-EFF1561A4044}" dt="2021-01-27T23:00:58.123" v="510" actId="20577"/>
        <pc:sldMkLst>
          <pc:docMk/>
          <pc:sldMk cId="414200059" sldId="2076137389"/>
        </pc:sldMkLst>
        <pc:spChg chg="mod">
          <ac:chgData name="Soraya G Sotudeh" userId="76c2cecb-13a5-4101-b93f-0776f653e718" providerId="ADAL" clId="{2D3B7591-C720-4DF0-A3CD-EFF1561A4044}" dt="2021-01-27T23:00:58.123" v="510" actId="20577"/>
          <ac:spMkLst>
            <pc:docMk/>
            <pc:sldMk cId="414200059" sldId="2076137389"/>
            <ac:spMk id="8" creationId="{62CA0B21-B744-FE43-A932-81C21120730C}"/>
          </ac:spMkLst>
        </pc:spChg>
        <pc:spChg chg="add mod">
          <ac:chgData name="Soraya G Sotudeh" userId="76c2cecb-13a5-4101-b93f-0776f653e718" providerId="ADAL" clId="{2D3B7591-C720-4DF0-A3CD-EFF1561A4044}" dt="2021-01-27T22:59:50.599" v="487" actId="20577"/>
          <ac:spMkLst>
            <pc:docMk/>
            <pc:sldMk cId="414200059" sldId="2076137389"/>
            <ac:spMk id="9" creationId="{8569572A-9470-425C-858D-8599D3F1B943}"/>
          </ac:spMkLst>
        </pc:spChg>
        <pc:spChg chg="mod">
          <ac:chgData name="Soraya G Sotudeh" userId="76c2cecb-13a5-4101-b93f-0776f653e718" providerId="ADAL" clId="{2D3B7591-C720-4DF0-A3CD-EFF1561A4044}" dt="2021-01-27T22:20:25.883" v="32"/>
          <ac:spMkLst>
            <pc:docMk/>
            <pc:sldMk cId="414200059" sldId="2076137389"/>
            <ac:spMk id="20" creationId="{3CEF303B-DAEF-4960-8212-6FDC11DC4F7B}"/>
          </ac:spMkLst>
        </pc:spChg>
        <pc:spChg chg="mod">
          <ac:chgData name="Soraya G Sotudeh" userId="76c2cecb-13a5-4101-b93f-0776f653e718" providerId="ADAL" clId="{2D3B7591-C720-4DF0-A3CD-EFF1561A4044}" dt="2021-01-27T23:00:24.736" v="490" actId="14100"/>
          <ac:spMkLst>
            <pc:docMk/>
            <pc:sldMk cId="414200059" sldId="2076137389"/>
            <ac:spMk id="21" creationId="{97484700-38C9-49CC-AFE3-401E5C2E2E73}"/>
          </ac:spMkLst>
        </pc:spChg>
        <pc:picChg chg="add mod">
          <ac:chgData name="Soraya G Sotudeh" userId="76c2cecb-13a5-4101-b93f-0776f653e718" providerId="ADAL" clId="{2D3B7591-C720-4DF0-A3CD-EFF1561A4044}" dt="2021-01-27T23:00:16.074" v="489" actId="1076"/>
          <ac:picMkLst>
            <pc:docMk/>
            <pc:sldMk cId="414200059" sldId="2076137389"/>
            <ac:picMk id="10" creationId="{2E6996E6-A8FF-43A0-8D51-58E7FE140260}"/>
          </ac:picMkLst>
        </pc:picChg>
        <pc:picChg chg="add mod">
          <ac:chgData name="Soraya G Sotudeh" userId="76c2cecb-13a5-4101-b93f-0776f653e718" providerId="ADAL" clId="{2D3B7591-C720-4DF0-A3CD-EFF1561A4044}" dt="2021-01-27T23:00:39.104" v="492" actId="1076"/>
          <ac:picMkLst>
            <pc:docMk/>
            <pc:sldMk cId="414200059" sldId="2076137389"/>
            <ac:picMk id="11" creationId="{28ABF78E-E594-46E7-A538-6742B54F56C4}"/>
          </ac:picMkLst>
        </pc:picChg>
        <pc:picChg chg="del">
          <ac:chgData name="Soraya G Sotudeh" userId="76c2cecb-13a5-4101-b93f-0776f653e718" providerId="ADAL" clId="{2D3B7591-C720-4DF0-A3CD-EFF1561A4044}" dt="2021-01-27T22:58:46.065" v="474" actId="478"/>
          <ac:picMkLst>
            <pc:docMk/>
            <pc:sldMk cId="414200059" sldId="2076137389"/>
            <ac:picMk id="39938" creationId="{2122D3D1-D5E5-45AB-AFA2-28B2D2EDCB9C}"/>
          </ac:picMkLst>
        </pc:picChg>
        <pc:picChg chg="del">
          <ac:chgData name="Soraya G Sotudeh" userId="76c2cecb-13a5-4101-b93f-0776f653e718" providerId="ADAL" clId="{2D3B7591-C720-4DF0-A3CD-EFF1561A4044}" dt="2021-01-27T22:58:44.246" v="473" actId="478"/>
          <ac:picMkLst>
            <pc:docMk/>
            <pc:sldMk cId="414200059" sldId="2076137389"/>
            <ac:picMk id="39940" creationId="{3D34E562-E9A6-4056-8FC6-30A408F31FC2}"/>
          </ac:picMkLst>
        </pc:picChg>
      </pc:sldChg>
      <pc:sldChg chg="addSp delSp modSp">
        <pc:chgData name="Soraya G Sotudeh" userId="76c2cecb-13a5-4101-b93f-0776f653e718" providerId="ADAL" clId="{2D3B7591-C720-4DF0-A3CD-EFF1561A4044}" dt="2021-01-27T23:02:36.526" v="539" actId="20577"/>
        <pc:sldMkLst>
          <pc:docMk/>
          <pc:sldMk cId="2034733267" sldId="2076137390"/>
        </pc:sldMkLst>
        <pc:spChg chg="mod">
          <ac:chgData name="Soraya G Sotudeh" userId="76c2cecb-13a5-4101-b93f-0776f653e718" providerId="ADAL" clId="{2D3B7591-C720-4DF0-A3CD-EFF1561A4044}" dt="2021-01-27T23:02:36.526" v="539" actId="20577"/>
          <ac:spMkLst>
            <pc:docMk/>
            <pc:sldMk cId="2034733267" sldId="2076137390"/>
            <ac:spMk id="8" creationId="{62CA0B21-B744-FE43-A932-81C21120730C}"/>
          </ac:spMkLst>
        </pc:spChg>
        <pc:spChg chg="mod">
          <ac:chgData name="Soraya G Sotudeh" userId="76c2cecb-13a5-4101-b93f-0776f653e718" providerId="ADAL" clId="{2D3B7591-C720-4DF0-A3CD-EFF1561A4044}" dt="2021-01-27T22:20:30.419" v="33"/>
          <ac:spMkLst>
            <pc:docMk/>
            <pc:sldMk cId="2034733267" sldId="2076137390"/>
            <ac:spMk id="20" creationId="{3CEF303B-DAEF-4960-8212-6FDC11DC4F7B}"/>
          </ac:spMkLst>
        </pc:spChg>
        <pc:spChg chg="mod">
          <ac:chgData name="Soraya G Sotudeh" userId="76c2cecb-13a5-4101-b93f-0776f653e718" providerId="ADAL" clId="{2D3B7591-C720-4DF0-A3CD-EFF1561A4044}" dt="2021-01-27T23:01:40.957" v="523" actId="2711"/>
          <ac:spMkLst>
            <pc:docMk/>
            <pc:sldMk cId="2034733267" sldId="2076137390"/>
            <ac:spMk id="21" creationId="{97484700-38C9-49CC-AFE3-401E5C2E2E73}"/>
          </ac:spMkLst>
        </pc:spChg>
        <pc:picChg chg="add mod">
          <ac:chgData name="Soraya G Sotudeh" userId="76c2cecb-13a5-4101-b93f-0776f653e718" providerId="ADAL" clId="{2D3B7591-C720-4DF0-A3CD-EFF1561A4044}" dt="2021-01-27T23:02:02.906" v="528" actId="1076"/>
          <ac:picMkLst>
            <pc:docMk/>
            <pc:sldMk cId="2034733267" sldId="2076137390"/>
            <ac:picMk id="30723" creationId="{4073E249-129D-4537-AD4A-B059F792B05C}"/>
          </ac:picMkLst>
        </pc:picChg>
        <pc:picChg chg="add mod">
          <ac:chgData name="Soraya G Sotudeh" userId="76c2cecb-13a5-4101-b93f-0776f653e718" providerId="ADAL" clId="{2D3B7591-C720-4DF0-A3CD-EFF1561A4044}" dt="2021-01-27T23:02:23.586" v="533" actId="1076"/>
          <ac:picMkLst>
            <pc:docMk/>
            <pc:sldMk cId="2034733267" sldId="2076137390"/>
            <ac:picMk id="30725" creationId="{05ED6FFA-519C-4287-9007-3B0B2FD3F49B}"/>
          </ac:picMkLst>
        </pc:picChg>
        <pc:picChg chg="del">
          <ac:chgData name="Soraya G Sotudeh" userId="76c2cecb-13a5-4101-b93f-0776f653e718" providerId="ADAL" clId="{2D3B7591-C720-4DF0-A3CD-EFF1561A4044}" dt="2021-01-27T23:01:43.769" v="524" actId="478"/>
          <ac:picMkLst>
            <pc:docMk/>
            <pc:sldMk cId="2034733267" sldId="2076137390"/>
            <ac:picMk id="40962" creationId="{29707C27-05B5-4BD1-9962-89CD301488AD}"/>
          </ac:picMkLst>
        </pc:picChg>
      </pc:sldChg>
      <pc:sldChg chg="addSp delSp modSp add del">
        <pc:chgData name="Soraya G Sotudeh" userId="76c2cecb-13a5-4101-b93f-0776f653e718" providerId="ADAL" clId="{2D3B7591-C720-4DF0-A3CD-EFF1561A4044}" dt="2021-01-27T23:08:38.317" v="654" actId="20577"/>
        <pc:sldMkLst>
          <pc:docMk/>
          <pc:sldMk cId="335893083" sldId="2076137391"/>
        </pc:sldMkLst>
        <pc:spChg chg="mod">
          <ac:chgData name="Soraya G Sotudeh" userId="76c2cecb-13a5-4101-b93f-0776f653e718" providerId="ADAL" clId="{2D3B7591-C720-4DF0-A3CD-EFF1561A4044}" dt="2021-01-27T23:08:38.317" v="654" actId="20577"/>
          <ac:spMkLst>
            <pc:docMk/>
            <pc:sldMk cId="335893083" sldId="2076137391"/>
            <ac:spMk id="8" creationId="{62CA0B21-B744-FE43-A932-81C21120730C}"/>
          </ac:spMkLst>
        </pc:spChg>
        <pc:spChg chg="mod">
          <ac:chgData name="Soraya G Sotudeh" userId="76c2cecb-13a5-4101-b93f-0776f653e718" providerId="ADAL" clId="{2D3B7591-C720-4DF0-A3CD-EFF1561A4044}" dt="2021-01-27T22:20:33.901" v="34"/>
          <ac:spMkLst>
            <pc:docMk/>
            <pc:sldMk cId="335893083" sldId="2076137391"/>
            <ac:spMk id="20" creationId="{3CEF303B-DAEF-4960-8212-6FDC11DC4F7B}"/>
          </ac:spMkLst>
        </pc:spChg>
        <pc:spChg chg="mod">
          <ac:chgData name="Soraya G Sotudeh" userId="76c2cecb-13a5-4101-b93f-0776f653e718" providerId="ADAL" clId="{2D3B7591-C720-4DF0-A3CD-EFF1561A4044}" dt="2021-01-27T23:04:02.152" v="549" actId="20577"/>
          <ac:spMkLst>
            <pc:docMk/>
            <pc:sldMk cId="335893083" sldId="2076137391"/>
            <ac:spMk id="21" creationId="{97484700-38C9-49CC-AFE3-401E5C2E2E73}"/>
          </ac:spMkLst>
        </pc:spChg>
        <pc:picChg chg="add mod">
          <ac:chgData name="Soraya G Sotudeh" userId="76c2cecb-13a5-4101-b93f-0776f653e718" providerId="ADAL" clId="{2D3B7591-C720-4DF0-A3CD-EFF1561A4044}" dt="2021-01-27T23:03:15.834" v="545" actId="1076"/>
          <ac:picMkLst>
            <pc:docMk/>
            <pc:sldMk cId="335893083" sldId="2076137391"/>
            <ac:picMk id="32772" creationId="{239E4589-61D6-4AD1-8506-9125521696A0}"/>
          </ac:picMkLst>
        </pc:picChg>
        <pc:picChg chg="add mod">
          <ac:chgData name="Soraya G Sotudeh" userId="76c2cecb-13a5-4101-b93f-0776f653e718" providerId="ADAL" clId="{2D3B7591-C720-4DF0-A3CD-EFF1561A4044}" dt="2021-01-27T23:04:22.330" v="552" actId="14100"/>
          <ac:picMkLst>
            <pc:docMk/>
            <pc:sldMk cId="335893083" sldId="2076137391"/>
            <ac:picMk id="32774" creationId="{380D6348-0E5B-45BB-8A75-F3B9AC1842E9}"/>
          </ac:picMkLst>
        </pc:picChg>
        <pc:picChg chg="del">
          <ac:chgData name="Soraya G Sotudeh" userId="76c2cecb-13a5-4101-b93f-0776f653e718" providerId="ADAL" clId="{2D3B7591-C720-4DF0-A3CD-EFF1561A4044}" dt="2021-01-27T23:02:41.169" v="540" actId="478"/>
          <ac:picMkLst>
            <pc:docMk/>
            <pc:sldMk cId="335893083" sldId="2076137391"/>
            <ac:picMk id="41986" creationId="{5EBBB578-8DCD-47AC-BAA5-58990F9FA826}"/>
          </ac:picMkLst>
        </pc:picChg>
      </pc:sldChg>
      <pc:sldChg chg="modSp del">
        <pc:chgData name="Soraya G Sotudeh" userId="76c2cecb-13a5-4101-b93f-0776f653e718" providerId="ADAL" clId="{2D3B7591-C720-4DF0-A3CD-EFF1561A4044}" dt="2021-01-27T23:01:12.444" v="513" actId="2696"/>
        <pc:sldMkLst>
          <pc:docMk/>
          <pc:sldMk cId="1315619119" sldId="2076137392"/>
        </pc:sldMkLst>
        <pc:spChg chg="mod">
          <ac:chgData name="Soraya G Sotudeh" userId="76c2cecb-13a5-4101-b93f-0776f653e718" providerId="ADAL" clId="{2D3B7591-C720-4DF0-A3CD-EFF1561A4044}" dt="2021-01-27T22:20:37.587" v="35"/>
          <ac:spMkLst>
            <pc:docMk/>
            <pc:sldMk cId="1315619119" sldId="2076137392"/>
            <ac:spMk id="20" creationId="{3CEF303B-DAEF-4960-8212-6FDC11DC4F7B}"/>
          </ac:spMkLst>
        </pc:spChg>
      </pc:sldChg>
      <pc:sldChg chg="modSp del">
        <pc:chgData name="Soraya G Sotudeh" userId="76c2cecb-13a5-4101-b93f-0776f653e718" providerId="ADAL" clId="{2D3B7591-C720-4DF0-A3CD-EFF1561A4044}" dt="2021-01-27T23:01:14.383" v="515" actId="2696"/>
        <pc:sldMkLst>
          <pc:docMk/>
          <pc:sldMk cId="1691788814" sldId="2076137393"/>
        </pc:sldMkLst>
        <pc:spChg chg="mod">
          <ac:chgData name="Soraya G Sotudeh" userId="76c2cecb-13a5-4101-b93f-0776f653e718" providerId="ADAL" clId="{2D3B7591-C720-4DF0-A3CD-EFF1561A4044}" dt="2021-01-27T22:20:44.883" v="37"/>
          <ac:spMkLst>
            <pc:docMk/>
            <pc:sldMk cId="1691788814" sldId="2076137393"/>
            <ac:spMk id="20" creationId="{3CEF303B-DAEF-4960-8212-6FDC11DC4F7B}"/>
          </ac:spMkLst>
        </pc:spChg>
      </pc:sldChg>
      <pc:sldChg chg="delSp modSp ord delCm modCm">
        <pc:chgData name="Soraya G Sotudeh" userId="76c2cecb-13a5-4101-b93f-0776f653e718" providerId="ADAL" clId="{2D3B7591-C720-4DF0-A3CD-EFF1561A4044}" dt="2021-01-27T22:55:50.570" v="420" actId="1592"/>
        <pc:sldMkLst>
          <pc:docMk/>
          <pc:sldMk cId="4202852763" sldId="2076137395"/>
        </pc:sldMkLst>
        <pc:spChg chg="mod">
          <ac:chgData name="Soraya G Sotudeh" userId="76c2cecb-13a5-4101-b93f-0776f653e718" providerId="ADAL" clId="{2D3B7591-C720-4DF0-A3CD-EFF1561A4044}" dt="2021-01-27T22:55:23.519" v="414" actId="20577"/>
          <ac:spMkLst>
            <pc:docMk/>
            <pc:sldMk cId="4202852763" sldId="2076137395"/>
            <ac:spMk id="6" creationId="{E841121C-0B87-45EF-9992-D117D47969D7}"/>
          </ac:spMkLst>
        </pc:spChg>
        <pc:spChg chg="mod">
          <ac:chgData name="Soraya G Sotudeh" userId="76c2cecb-13a5-4101-b93f-0776f653e718" providerId="ADAL" clId="{2D3B7591-C720-4DF0-A3CD-EFF1561A4044}" dt="2021-01-27T22:54:37.502" v="403" actId="20577"/>
          <ac:spMkLst>
            <pc:docMk/>
            <pc:sldMk cId="4202852763" sldId="2076137395"/>
            <ac:spMk id="8" creationId="{62CA0B21-B744-FE43-A932-81C21120730C}"/>
          </ac:spMkLst>
        </pc:spChg>
        <pc:picChg chg="del">
          <ac:chgData name="Soraya G Sotudeh" userId="76c2cecb-13a5-4101-b93f-0776f653e718" providerId="ADAL" clId="{2D3B7591-C720-4DF0-A3CD-EFF1561A4044}" dt="2021-01-27T22:55:45.662" v="418" actId="478"/>
          <ac:picMkLst>
            <pc:docMk/>
            <pc:sldMk cId="4202852763" sldId="2076137395"/>
            <ac:picMk id="97287" creationId="{CCCF4E5D-3184-49FC-9E62-CC09501B95B1}"/>
          </ac:picMkLst>
        </pc:picChg>
        <pc:picChg chg="del">
          <ac:chgData name="Soraya G Sotudeh" userId="76c2cecb-13a5-4101-b93f-0776f653e718" providerId="ADAL" clId="{2D3B7591-C720-4DF0-A3CD-EFF1561A4044}" dt="2021-01-27T22:55:40.157" v="416" actId="478"/>
          <ac:picMkLst>
            <pc:docMk/>
            <pc:sldMk cId="4202852763" sldId="2076137395"/>
            <ac:picMk id="97289" creationId="{95617E9A-A4AE-4218-AB53-3324D03B1BAE}"/>
          </ac:picMkLst>
        </pc:picChg>
        <pc:picChg chg="del">
          <ac:chgData name="Soraya G Sotudeh" userId="76c2cecb-13a5-4101-b93f-0776f653e718" providerId="ADAL" clId="{2D3B7591-C720-4DF0-A3CD-EFF1561A4044}" dt="2021-01-27T22:55:37.959" v="415" actId="478"/>
          <ac:picMkLst>
            <pc:docMk/>
            <pc:sldMk cId="4202852763" sldId="2076137395"/>
            <ac:picMk id="97291" creationId="{14DD0EEB-28CE-40DF-9939-E128F6EACBF5}"/>
          </ac:picMkLst>
        </pc:picChg>
        <pc:picChg chg="del">
          <ac:chgData name="Soraya G Sotudeh" userId="76c2cecb-13a5-4101-b93f-0776f653e718" providerId="ADAL" clId="{2D3B7591-C720-4DF0-A3CD-EFF1561A4044}" dt="2021-01-27T22:55:43.178" v="417" actId="478"/>
          <ac:picMkLst>
            <pc:docMk/>
            <pc:sldMk cId="4202852763" sldId="2076137395"/>
            <ac:picMk id="97293" creationId="{5EDB2E5A-8343-444C-BC13-7F05B70D5EDC}"/>
          </ac:picMkLst>
        </pc:picChg>
      </pc:sldChg>
      <pc:sldChg chg="add del">
        <pc:chgData name="Soraya G Sotudeh" userId="76c2cecb-13a5-4101-b93f-0776f653e718" providerId="ADAL" clId="{2D3B7591-C720-4DF0-A3CD-EFF1561A4044}" dt="2021-01-27T22:54:47.466" v="405"/>
        <pc:sldMkLst>
          <pc:docMk/>
          <pc:sldMk cId="1601216981" sldId="2076137396"/>
        </pc:sldMkLst>
      </pc:sldChg>
    </pc:docChg>
  </pc:docChgLst>
  <pc:docChgLst>
    <pc:chgData name="Maclaren-Hall, Jerilyn" userId="9a1f7aff-8a73-4de1-9779-572b1541991f" providerId="ADAL" clId="{AA41396D-2B17-4BD5-ADAF-1E1AB474E7F6}"/>
    <pc:docChg chg="custSel modSld">
      <pc:chgData name="Maclaren-Hall, Jerilyn" userId="9a1f7aff-8a73-4de1-9779-572b1541991f" providerId="ADAL" clId="{AA41396D-2B17-4BD5-ADAF-1E1AB474E7F6}" dt="2021-01-29T20:40:11.490" v="12"/>
      <pc:docMkLst>
        <pc:docMk/>
      </pc:docMkLst>
      <pc:sldChg chg="addCm modCm">
        <pc:chgData name="Maclaren-Hall, Jerilyn" userId="9a1f7aff-8a73-4de1-9779-572b1541991f" providerId="ADAL" clId="{AA41396D-2B17-4BD5-ADAF-1E1AB474E7F6}" dt="2021-01-29T20:35:40.011" v="3"/>
        <pc:sldMkLst>
          <pc:docMk/>
          <pc:sldMk cId="1447221636" sldId="9079"/>
        </pc:sldMkLst>
      </pc:sldChg>
      <pc:sldChg chg="addCm modCm">
        <pc:chgData name="Maclaren-Hall, Jerilyn" userId="9a1f7aff-8a73-4de1-9779-572b1541991f" providerId="ADAL" clId="{AA41396D-2B17-4BD5-ADAF-1E1AB474E7F6}" dt="2021-01-29T20:36:30.665" v="5"/>
        <pc:sldMkLst>
          <pc:docMk/>
          <pc:sldMk cId="494369478" sldId="9087"/>
        </pc:sldMkLst>
      </pc:sldChg>
      <pc:sldChg chg="addCm modCm">
        <pc:chgData name="Maclaren-Hall, Jerilyn" userId="9a1f7aff-8a73-4de1-9779-572b1541991f" providerId="ADAL" clId="{AA41396D-2B17-4BD5-ADAF-1E1AB474E7F6}" dt="2021-01-29T20:34:06.762" v="1"/>
        <pc:sldMkLst>
          <pc:docMk/>
          <pc:sldMk cId="3598891342" sldId="2076137379"/>
        </pc:sldMkLst>
      </pc:sldChg>
      <pc:sldChg chg="addCm modCm">
        <pc:chgData name="Maclaren-Hall, Jerilyn" userId="9a1f7aff-8a73-4de1-9779-572b1541991f" providerId="ADAL" clId="{AA41396D-2B17-4BD5-ADAF-1E1AB474E7F6}" dt="2021-01-29T20:37:40.384" v="8" actId="1589"/>
        <pc:sldMkLst>
          <pc:docMk/>
          <pc:sldMk cId="3773699427" sldId="2076137387"/>
        </pc:sldMkLst>
      </pc:sldChg>
      <pc:sldChg chg="addCm modCm">
        <pc:chgData name="Maclaren-Hall, Jerilyn" userId="9a1f7aff-8a73-4de1-9779-572b1541991f" providerId="ADAL" clId="{AA41396D-2B17-4BD5-ADAF-1E1AB474E7F6}" dt="2021-01-29T20:38:23.771" v="10"/>
        <pc:sldMkLst>
          <pc:docMk/>
          <pc:sldMk cId="552563287" sldId="2076137388"/>
        </pc:sldMkLst>
      </pc:sldChg>
      <pc:sldChg chg="addCm modCm">
        <pc:chgData name="Maclaren-Hall, Jerilyn" userId="9a1f7aff-8a73-4de1-9779-572b1541991f" providerId="ADAL" clId="{AA41396D-2B17-4BD5-ADAF-1E1AB474E7F6}" dt="2021-01-29T20:40:11.490" v="12"/>
        <pc:sldMkLst>
          <pc:docMk/>
          <pc:sldMk cId="2034733267" sldId="2076137390"/>
        </pc:sldMkLst>
      </pc:sldChg>
    </pc:docChg>
  </pc:docChgLst>
  <pc:docChgLst>
    <pc:chgData name="Gracie A Chewning" userId="S::gracie.a.chewning@ey.com::9de9d667-e019-4a85-82bf-b9f50f141a0d" providerId="AD" clId="Web-{D8B9560D-E275-4248-9BE0-1B10E481FD55}"/>
    <pc:docChg chg="modSld">
      <pc:chgData name="Gracie A Chewning" userId="S::gracie.a.chewning@ey.com::9de9d667-e019-4a85-82bf-b9f50f141a0d" providerId="AD" clId="Web-{D8B9560D-E275-4248-9BE0-1B10E481FD55}" dt="2021-01-27T18:47:07.297" v="4"/>
      <pc:docMkLst>
        <pc:docMk/>
      </pc:docMkLst>
      <pc:sldChg chg="modSp addCm modCm">
        <pc:chgData name="Gracie A Chewning" userId="S::gracie.a.chewning@ey.com::9de9d667-e019-4a85-82bf-b9f50f141a0d" providerId="AD" clId="Web-{D8B9560D-E275-4248-9BE0-1B10E481FD55}" dt="2021-01-27T18:47:07.297" v="4"/>
        <pc:sldMkLst>
          <pc:docMk/>
          <pc:sldMk cId="2991782893" sldId="9075"/>
        </pc:sldMkLst>
        <pc:spChg chg="mod">
          <ac:chgData name="Gracie A Chewning" userId="S::gracie.a.chewning@ey.com::9de9d667-e019-4a85-82bf-b9f50f141a0d" providerId="AD" clId="Web-{D8B9560D-E275-4248-9BE0-1B10E481FD55}" dt="2021-01-27T18:44:15.684" v="2" actId="20577"/>
          <ac:spMkLst>
            <pc:docMk/>
            <pc:sldMk cId="2991782893" sldId="9075"/>
            <ac:spMk id="6" creationId="{E841121C-0B87-45EF-9992-D117D47969D7}"/>
          </ac:spMkLst>
        </pc:spChg>
      </pc:sldChg>
    </pc:docChg>
  </pc:docChgLst>
  <pc:docChgLst>
    <pc:chgData name="Soraya G Sotudeh" userId="76c2cecb-13a5-4101-b93f-0776f653e718" providerId="ADAL" clId="{C1875F58-463B-43FE-9156-3257660EA652}"/>
    <pc:docChg chg="modSld">
      <pc:chgData name="Soraya G Sotudeh" userId="76c2cecb-13a5-4101-b93f-0776f653e718" providerId="ADAL" clId="{C1875F58-463B-43FE-9156-3257660EA652}" dt="2021-01-28T16:34:26.940" v="12" actId="20577"/>
      <pc:docMkLst>
        <pc:docMk/>
      </pc:docMkLst>
      <pc:sldChg chg="modSp">
        <pc:chgData name="Soraya G Sotudeh" userId="76c2cecb-13a5-4101-b93f-0776f653e718" providerId="ADAL" clId="{C1875F58-463B-43FE-9156-3257660EA652}" dt="2021-01-28T16:34:26.940" v="12" actId="20577"/>
        <pc:sldMkLst>
          <pc:docMk/>
          <pc:sldMk cId="2991782893" sldId="9075"/>
        </pc:sldMkLst>
        <pc:spChg chg="mod">
          <ac:chgData name="Soraya G Sotudeh" userId="76c2cecb-13a5-4101-b93f-0776f653e718" providerId="ADAL" clId="{C1875F58-463B-43FE-9156-3257660EA652}" dt="2021-01-28T16:34:26.940" v="12" actId="20577"/>
          <ac:spMkLst>
            <pc:docMk/>
            <pc:sldMk cId="2991782893" sldId="9075"/>
            <ac:spMk id="6" creationId="{E841121C-0B87-45EF-9992-D117D47969D7}"/>
          </ac:spMkLst>
        </pc:spChg>
      </pc:sldChg>
    </pc:docChg>
  </pc:docChgLst>
  <pc:docChgLst>
    <pc:chgData name="Nate J Engel" userId="ceb1fc4a-eb95-4a90-b3f7-3b6e871c5963" providerId="ADAL" clId="{0F859D15-1049-486A-B225-A2E25B97E158}"/>
    <pc:docChg chg="custSel delSld modSld">
      <pc:chgData name="Nate J Engel" userId="ceb1fc4a-eb95-4a90-b3f7-3b6e871c5963" providerId="ADAL" clId="{0F859D15-1049-486A-B225-A2E25B97E158}" dt="2021-02-01T15:56:54.272" v="622" actId="1592"/>
      <pc:docMkLst>
        <pc:docMk/>
      </pc:docMkLst>
      <pc:sldChg chg="addCm modCm">
        <pc:chgData name="Nate J Engel" userId="ceb1fc4a-eb95-4a90-b3f7-3b6e871c5963" providerId="ADAL" clId="{0F859D15-1049-486A-B225-A2E25B97E158}" dt="2021-01-28T14:41:03.798" v="1" actId="1589"/>
        <pc:sldMkLst>
          <pc:docMk/>
          <pc:sldMk cId="2991782893" sldId="9075"/>
        </pc:sldMkLst>
      </pc:sldChg>
      <pc:sldChg chg="addSp modSp delCm">
        <pc:chgData name="Nate J Engel" userId="ceb1fc4a-eb95-4a90-b3f7-3b6e871c5963" providerId="ADAL" clId="{0F859D15-1049-486A-B225-A2E25B97E158}" dt="2021-02-01T15:54:48.937" v="588" actId="208"/>
        <pc:sldMkLst>
          <pc:docMk/>
          <pc:sldMk cId="1447221636" sldId="9079"/>
        </pc:sldMkLst>
        <pc:spChg chg="mod">
          <ac:chgData name="Nate J Engel" userId="ceb1fc4a-eb95-4a90-b3f7-3b6e871c5963" providerId="ADAL" clId="{0F859D15-1049-486A-B225-A2E25B97E158}" dt="2021-02-01T15:02:11.768" v="153" actId="20577"/>
          <ac:spMkLst>
            <pc:docMk/>
            <pc:sldMk cId="1447221636" sldId="9079"/>
            <ac:spMk id="21" creationId="{97484700-38C9-49CC-AFE3-401E5C2E2E73}"/>
          </ac:spMkLst>
        </pc:spChg>
        <pc:grpChg chg="add mod">
          <ac:chgData name="Nate J Engel" userId="ceb1fc4a-eb95-4a90-b3f7-3b6e871c5963" providerId="ADAL" clId="{0F859D15-1049-486A-B225-A2E25B97E158}" dt="2021-02-01T15:02:02.334" v="150" actId="164"/>
          <ac:grpSpMkLst>
            <pc:docMk/>
            <pc:sldMk cId="1447221636" sldId="9079"/>
            <ac:grpSpMk id="2" creationId="{91AE0983-0B49-4856-B2BE-4424B4B69601}"/>
          </ac:grpSpMkLst>
        </pc:grpChg>
        <pc:picChg chg="mod">
          <ac:chgData name="Nate J Engel" userId="ceb1fc4a-eb95-4a90-b3f7-3b6e871c5963" providerId="ADAL" clId="{0F859D15-1049-486A-B225-A2E25B97E158}" dt="2021-02-01T15:54:48.937" v="588" actId="208"/>
          <ac:picMkLst>
            <pc:docMk/>
            <pc:sldMk cId="1447221636" sldId="9079"/>
            <ac:picMk id="20483" creationId="{530EC0D7-40AF-4EE2-A6D0-A417769577BA}"/>
          </ac:picMkLst>
        </pc:picChg>
        <pc:picChg chg="mod">
          <ac:chgData name="Nate J Engel" userId="ceb1fc4a-eb95-4a90-b3f7-3b6e871c5963" providerId="ADAL" clId="{0F859D15-1049-486A-B225-A2E25B97E158}" dt="2021-02-01T15:02:02.334" v="150" actId="164"/>
          <ac:picMkLst>
            <pc:docMk/>
            <pc:sldMk cId="1447221636" sldId="9079"/>
            <ac:picMk id="20485" creationId="{9A3B2A1E-2E50-4C51-875F-D697D7D48E2E}"/>
          </ac:picMkLst>
        </pc:picChg>
      </pc:sldChg>
      <pc:sldChg chg="addSp modSp delCm">
        <pc:chgData name="Nate J Engel" userId="ceb1fc4a-eb95-4a90-b3f7-3b6e871c5963" providerId="ADAL" clId="{0F859D15-1049-486A-B225-A2E25B97E158}" dt="2021-02-01T15:50:38.905" v="522" actId="1592"/>
        <pc:sldMkLst>
          <pc:docMk/>
          <pc:sldMk cId="494369478" sldId="9087"/>
        </pc:sldMkLst>
        <pc:spChg chg="add mod">
          <ac:chgData name="Nate J Engel" userId="ceb1fc4a-eb95-4a90-b3f7-3b6e871c5963" providerId="ADAL" clId="{0F859D15-1049-486A-B225-A2E25B97E158}" dt="2021-02-01T15:50:34.470" v="521" actId="20577"/>
          <ac:spMkLst>
            <pc:docMk/>
            <pc:sldMk cId="494369478" sldId="9087"/>
            <ac:spMk id="12" creationId="{02CDB8F5-2669-4F08-AD92-A79C8F7AEAD0}"/>
          </ac:spMkLst>
        </pc:spChg>
      </pc:sldChg>
      <pc:sldChg chg="del">
        <pc:chgData name="Nate J Engel" userId="ceb1fc4a-eb95-4a90-b3f7-3b6e871c5963" providerId="ADAL" clId="{0F859D15-1049-486A-B225-A2E25B97E158}" dt="2021-01-28T15:04:07.271" v="2" actId="2696"/>
        <pc:sldMkLst>
          <pc:docMk/>
          <pc:sldMk cId="2793015335" sldId="2076137386"/>
        </pc:sldMkLst>
      </pc:sldChg>
      <pc:sldChg chg="modSp delCm">
        <pc:chgData name="Nate J Engel" userId="ceb1fc4a-eb95-4a90-b3f7-3b6e871c5963" providerId="ADAL" clId="{0F859D15-1049-486A-B225-A2E25B97E158}" dt="2021-02-01T15:53:20.840" v="572" actId="1592"/>
        <pc:sldMkLst>
          <pc:docMk/>
          <pc:sldMk cId="3773699427" sldId="2076137387"/>
        </pc:sldMkLst>
        <pc:spChg chg="mod">
          <ac:chgData name="Nate J Engel" userId="ceb1fc4a-eb95-4a90-b3f7-3b6e871c5963" providerId="ADAL" clId="{0F859D15-1049-486A-B225-A2E25B97E158}" dt="2021-02-01T15:53:05.763" v="571" actId="20577"/>
          <ac:spMkLst>
            <pc:docMk/>
            <pc:sldMk cId="3773699427" sldId="2076137387"/>
            <ac:spMk id="2" creationId="{183C4EC3-FB2B-48A6-B134-D8101EB18A23}"/>
          </ac:spMkLst>
        </pc:spChg>
        <pc:spChg chg="mod">
          <ac:chgData name="Nate J Engel" userId="ceb1fc4a-eb95-4a90-b3f7-3b6e871c5963" providerId="ADAL" clId="{0F859D15-1049-486A-B225-A2E25B97E158}" dt="2021-02-01T15:52:31.647" v="555" actId="1076"/>
          <ac:spMkLst>
            <pc:docMk/>
            <pc:sldMk cId="3773699427" sldId="2076137387"/>
            <ac:spMk id="21" creationId="{97484700-38C9-49CC-AFE3-401E5C2E2E73}"/>
          </ac:spMkLst>
        </pc:spChg>
        <pc:picChg chg="mod">
          <ac:chgData name="Nate J Engel" userId="ceb1fc4a-eb95-4a90-b3f7-3b6e871c5963" providerId="ADAL" clId="{0F859D15-1049-486A-B225-A2E25B97E158}" dt="2021-02-01T15:52:35.770" v="556" actId="14100"/>
          <ac:picMkLst>
            <pc:docMk/>
            <pc:sldMk cId="3773699427" sldId="2076137387"/>
            <ac:picMk id="24579" creationId="{54B48591-2941-45FC-9F81-2DE1A32580B2}"/>
          </ac:picMkLst>
        </pc:picChg>
        <pc:picChg chg="mod">
          <ac:chgData name="Nate J Engel" userId="ceb1fc4a-eb95-4a90-b3f7-3b6e871c5963" providerId="ADAL" clId="{0F859D15-1049-486A-B225-A2E25B97E158}" dt="2021-02-01T15:52:41.091" v="557" actId="14100"/>
          <ac:picMkLst>
            <pc:docMk/>
            <pc:sldMk cId="3773699427" sldId="2076137387"/>
            <ac:picMk id="24581" creationId="{94D9E32F-B25C-4A34-9117-628C2B6E3166}"/>
          </ac:picMkLst>
        </pc:picChg>
      </pc:sldChg>
      <pc:sldChg chg="addSp modSp delCm">
        <pc:chgData name="Nate J Engel" userId="ceb1fc4a-eb95-4a90-b3f7-3b6e871c5963" providerId="ADAL" clId="{0F859D15-1049-486A-B225-A2E25B97E158}" dt="2021-02-01T15:54:04.586" v="586" actId="1592"/>
        <pc:sldMkLst>
          <pc:docMk/>
          <pc:sldMk cId="552563287" sldId="2076137388"/>
        </pc:sldMkLst>
        <pc:spChg chg="mod">
          <ac:chgData name="Nate J Engel" userId="ceb1fc4a-eb95-4a90-b3f7-3b6e871c5963" providerId="ADAL" clId="{0F859D15-1049-486A-B225-A2E25B97E158}" dt="2021-02-01T15:53:34.123" v="581" actId="20577"/>
          <ac:spMkLst>
            <pc:docMk/>
            <pc:sldMk cId="552563287" sldId="2076137388"/>
            <ac:spMk id="21" creationId="{97484700-38C9-49CC-AFE3-401E5C2E2E73}"/>
          </ac:spMkLst>
        </pc:spChg>
        <pc:grpChg chg="add mod">
          <ac:chgData name="Nate J Engel" userId="ceb1fc4a-eb95-4a90-b3f7-3b6e871c5963" providerId="ADAL" clId="{0F859D15-1049-486A-B225-A2E25B97E158}" dt="2021-02-01T15:53:48.959" v="584" actId="164"/>
          <ac:grpSpMkLst>
            <pc:docMk/>
            <pc:sldMk cId="552563287" sldId="2076137388"/>
            <ac:grpSpMk id="2" creationId="{D4A8375A-426A-4804-B705-68C13E2DCDC7}"/>
          </ac:grpSpMkLst>
        </pc:grpChg>
        <pc:picChg chg="mod">
          <ac:chgData name="Nate J Engel" userId="ceb1fc4a-eb95-4a90-b3f7-3b6e871c5963" providerId="ADAL" clId="{0F859D15-1049-486A-B225-A2E25B97E158}" dt="2021-02-01T15:53:57.350" v="585" actId="208"/>
          <ac:picMkLst>
            <pc:docMk/>
            <pc:sldMk cId="552563287" sldId="2076137388"/>
            <ac:picMk id="9" creationId="{DEB6858F-A314-46E9-AF77-D00CB481E3FF}"/>
          </ac:picMkLst>
        </pc:picChg>
        <pc:picChg chg="mod">
          <ac:chgData name="Nate J Engel" userId="ceb1fc4a-eb95-4a90-b3f7-3b6e871c5963" providerId="ADAL" clId="{0F859D15-1049-486A-B225-A2E25B97E158}" dt="2021-02-01T15:53:48.959" v="584" actId="164"/>
          <ac:picMkLst>
            <pc:docMk/>
            <pc:sldMk cId="552563287" sldId="2076137388"/>
            <ac:picMk id="10" creationId="{8DBC01FA-848D-42BB-8A48-2931363B4611}"/>
          </ac:picMkLst>
        </pc:picChg>
      </pc:sldChg>
      <pc:sldChg chg="modSp">
        <pc:chgData name="Nate J Engel" userId="ceb1fc4a-eb95-4a90-b3f7-3b6e871c5963" providerId="ADAL" clId="{0F859D15-1049-486A-B225-A2E25B97E158}" dt="2021-02-01T15:54:13.068" v="587" actId="208"/>
        <pc:sldMkLst>
          <pc:docMk/>
          <pc:sldMk cId="414200059" sldId="2076137389"/>
        </pc:sldMkLst>
        <pc:picChg chg="mod">
          <ac:chgData name="Nate J Engel" userId="ceb1fc4a-eb95-4a90-b3f7-3b6e871c5963" providerId="ADAL" clId="{0F859D15-1049-486A-B225-A2E25B97E158}" dt="2021-02-01T15:54:13.068" v="587" actId="208"/>
          <ac:picMkLst>
            <pc:docMk/>
            <pc:sldMk cId="414200059" sldId="2076137389"/>
            <ac:picMk id="10" creationId="{2E6996E6-A8FF-43A0-8D51-58E7FE140260}"/>
          </ac:picMkLst>
        </pc:picChg>
      </pc:sldChg>
      <pc:sldChg chg="modSp delCm">
        <pc:chgData name="Nate J Engel" userId="ceb1fc4a-eb95-4a90-b3f7-3b6e871c5963" providerId="ADAL" clId="{0F859D15-1049-486A-B225-A2E25B97E158}" dt="2021-02-01T15:56:54.272" v="622" actId="1592"/>
        <pc:sldMkLst>
          <pc:docMk/>
          <pc:sldMk cId="2034733267" sldId="2076137390"/>
        </pc:sldMkLst>
        <pc:spChg chg="mod">
          <ac:chgData name="Nate J Engel" userId="ceb1fc4a-eb95-4a90-b3f7-3b6e871c5963" providerId="ADAL" clId="{0F859D15-1049-486A-B225-A2E25B97E158}" dt="2021-02-01T15:56:51.149" v="621" actId="20577"/>
          <ac:spMkLst>
            <pc:docMk/>
            <pc:sldMk cId="2034733267" sldId="2076137390"/>
            <ac:spMk id="21" creationId="{97484700-38C9-49CC-AFE3-401E5C2E2E73}"/>
          </ac:spMkLst>
        </pc:spChg>
      </pc:sldChg>
    </pc:docChg>
  </pc:docChgLst>
  <pc:docChgLst>
    <pc:chgData clId="Web-{CB101937-17A5-4EFF-9ED8-0AB802E691AB}"/>
    <pc:docChg chg="modSld">
      <pc:chgData name="" userId="" providerId="" clId="Web-{CB101937-17A5-4EFF-9ED8-0AB802E691AB}" dt="2021-01-28T14:36:28.012" v="20"/>
      <pc:docMkLst>
        <pc:docMk/>
      </pc:docMkLst>
      <pc:sldChg chg="delSp modSp">
        <pc:chgData name="" userId="" providerId="" clId="Web-{CB101937-17A5-4EFF-9ED8-0AB802E691AB}" dt="2021-01-28T14:35:35.465" v="2" actId="20577"/>
        <pc:sldMkLst>
          <pc:docMk/>
          <pc:sldMk cId="24598589" sldId="9040"/>
        </pc:sldMkLst>
        <pc:spChg chg="mod">
          <ac:chgData name="" userId="" providerId="" clId="Web-{CB101937-17A5-4EFF-9ED8-0AB802E691AB}" dt="2021-01-28T14:35:35.465" v="2" actId="20577"/>
          <ac:spMkLst>
            <pc:docMk/>
            <pc:sldMk cId="24598589" sldId="9040"/>
            <ac:spMk id="3" creationId="{7F47A66F-7D6D-6042-A4EB-AF4CAEA86DDB}"/>
          </ac:spMkLst>
        </pc:spChg>
        <pc:spChg chg="del">
          <ac:chgData name="" userId="" providerId="" clId="Web-{CB101937-17A5-4EFF-9ED8-0AB802E691AB}" dt="2021-01-28T14:35:26.371" v="0"/>
          <ac:spMkLst>
            <pc:docMk/>
            <pc:sldMk cId="24598589" sldId="9040"/>
            <ac:spMk id="4" creationId="{E254FB21-696D-4690-BA3F-8FFD2263E862}"/>
          </ac:spMkLst>
        </pc:spChg>
      </pc:sldChg>
      <pc:sldChg chg="modSp">
        <pc:chgData name="" userId="" providerId="" clId="Web-{CB101937-17A5-4EFF-9ED8-0AB802E691AB}" dt="2021-01-28T14:36:28.012" v="20"/>
        <pc:sldMkLst>
          <pc:docMk/>
          <pc:sldMk cId="2793015335" sldId="2076137386"/>
        </pc:sldMkLst>
        <pc:graphicFrameChg chg="mod modGraphic">
          <ac:chgData name="" userId="" providerId="" clId="Web-{CB101937-17A5-4EFF-9ED8-0AB802E691AB}" dt="2021-01-28T14:36:28.012" v="20"/>
          <ac:graphicFrameMkLst>
            <pc:docMk/>
            <pc:sldMk cId="2793015335" sldId="2076137386"/>
            <ac:graphicFrameMk id="6" creationId="{78B1BD31-3AF9-4B81-93FC-7241460106EA}"/>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B322EC-15DE-4854-88EA-EEE8F2BB41DC}" type="datetimeFigureOut">
              <a:rPr lang="en-US" smtClean="0"/>
              <a:t>2/9/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908B72-BEDD-44F4-A2B9-58009FCAC3DB}" type="slidenum">
              <a:rPr lang="en-US" smtClean="0"/>
              <a:t>‹#›</a:t>
            </a:fld>
            <a:endParaRPr lang="en-US" dirty="0"/>
          </a:p>
        </p:txBody>
      </p:sp>
    </p:spTree>
    <p:extLst>
      <p:ext uri="{BB962C8B-B14F-4D97-AF65-F5344CB8AC3E}">
        <p14:creationId xmlns:p14="http://schemas.microsoft.com/office/powerpoint/2010/main" val="4191934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1263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21843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20810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395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0512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2259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722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2842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1199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18572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43096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6655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798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p>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94697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Arrow Connector 6">
            <a:extLst>
              <a:ext uri="{FF2B5EF4-FFF2-40B4-BE49-F238E27FC236}">
                <a16:creationId xmlns:a16="http://schemas.microsoft.com/office/drawing/2014/main" id="{5ADE2C1B-ADD1-44EB-BD83-C6F8614534DF}"/>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8" name="Freeform 43">
            <a:extLst>
              <a:ext uri="{FF2B5EF4-FFF2-40B4-BE49-F238E27FC236}">
                <a16:creationId xmlns:a16="http://schemas.microsoft.com/office/drawing/2014/main" id="{43822BC5-C48F-42EC-BD20-EA770B20BB81}"/>
              </a:ext>
            </a:extLst>
          </p:cNvPr>
          <p:cNvSpPr>
            <a:spLocks/>
          </p:cNvSpPr>
          <p:nvPr userDrawn="1"/>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Title 8">
            <a:extLst>
              <a:ext uri="{FF2B5EF4-FFF2-40B4-BE49-F238E27FC236}">
                <a16:creationId xmlns:a16="http://schemas.microsoft.com/office/drawing/2014/main" id="{F891C679-9D08-469E-9D05-B412F749C501}"/>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sp>
        <p:nvSpPr>
          <p:cNvPr id="11" name="Text Placeholder 10">
            <a:extLst>
              <a:ext uri="{FF2B5EF4-FFF2-40B4-BE49-F238E27FC236}">
                <a16:creationId xmlns:a16="http://schemas.microsoft.com/office/drawing/2014/main" id="{3FE5639A-994B-4DF4-8CF6-DF1A348C5190}"/>
              </a:ext>
            </a:extLst>
          </p:cNvPr>
          <p:cNvSpPr>
            <a:spLocks noGrp="1"/>
          </p:cNvSpPr>
          <p:nvPr>
            <p:ph type="body" sz="quarter" idx="10"/>
          </p:nvPr>
        </p:nvSpPr>
        <p:spPr>
          <a:xfrm>
            <a:off x="356921" y="878820"/>
            <a:ext cx="8815445" cy="3598999"/>
          </a:xfrm>
          <a:prstGeom prst="rect">
            <a:avLst/>
          </a:prstGeom>
        </p:spPr>
        <p:txBody>
          <a:bodyPr vert="horz" wrap="square" lIns="0" tIns="12700" rIns="0" bIns="0" rtlCol="0" anchor="t" anchorCtr="0">
            <a:noAutofit/>
          </a:bodyPr>
          <a:lstStyle>
            <a:lvl1pPr marL="0" indent="0" algn="l">
              <a:lnSpc>
                <a:spcPct val="100000"/>
              </a:lnSpc>
              <a:spcBef>
                <a:spcPts val="0"/>
              </a:spcBef>
              <a:spcAft>
                <a:spcPts val="600"/>
              </a:spcAft>
              <a:buFontTx/>
              <a:buNone/>
              <a:defRPr lang="en-US" sz="1600" b="0" i="0" smtClean="0">
                <a:solidFill>
                  <a:srgbClr val="000000"/>
                </a:solidFill>
                <a:latin typeface="EYInterstate"/>
              </a:defRPr>
            </a:lvl1pPr>
            <a:lvl2pPr marL="228600" indent="0">
              <a:buNone/>
              <a:defRPr lang="en-US" sz="1800" smtClean="0"/>
            </a:lvl2pPr>
            <a:lvl3pPr>
              <a:defRPr lang="en-US" sz="1800" smtClean="0"/>
            </a:lvl3pPr>
            <a:lvl4pPr>
              <a:defRPr lang="en-US" smtClean="0"/>
            </a:lvl4pPr>
            <a:lvl5pPr>
              <a:defRPr lang="en-US"/>
            </a:lvl5pPr>
          </a:lstStyle>
          <a:p>
            <a:pPr marL="12065" marR="5080" lvl="0" defTabSz="457200">
              <a:spcAft>
                <a:spcPts val="600"/>
              </a:spcAft>
              <a:tabLst>
                <a:tab pos="241300" algn="l"/>
              </a:tabLst>
            </a:pPr>
            <a:r>
              <a:rPr lang="en-US"/>
              <a:t>Click to edit Master text styles</a:t>
            </a:r>
          </a:p>
        </p:txBody>
      </p:sp>
    </p:spTree>
    <p:extLst>
      <p:ext uri="{BB962C8B-B14F-4D97-AF65-F5344CB8AC3E}">
        <p14:creationId xmlns:p14="http://schemas.microsoft.com/office/powerpoint/2010/main" val="9491384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60E6A9-627C-4487-ABC7-23142BA71233}"/>
              </a:ext>
            </a:extLst>
          </p:cNvPr>
          <p:cNvGraphicFramePr>
            <a:graphicFrameLocks noChangeAspect="1"/>
          </p:cNvGraphicFramePr>
          <p:nvPr userDrawn="1">
            <p:custDataLst>
              <p:tags r:id="rId2"/>
            </p:custDataLst>
            <p:extLst>
              <p:ext uri="{D42A27DB-BD31-4B8C-83A1-F6EECF244321}">
                <p14:modId xmlns:p14="http://schemas.microsoft.com/office/powerpoint/2010/main" val="2303807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360E6A9-627C-4487-ABC7-23142BA712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3870251"/>
            <a:ext cx="3745970" cy="682121"/>
          </a:xfrm>
          <a:prstGeom prst="rect">
            <a:avLst/>
          </a:prstGeom>
        </p:spPr>
        <p:txBody>
          <a:bodyPr anchor="b">
            <a:normAutofit lnSpcReduction="10000"/>
          </a:bodyPr>
          <a:lstStyle>
            <a:lvl1pPr marL="0" indent="0">
              <a:buNone/>
              <a:defRPr>
                <a:latin typeface="+mn-lt"/>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F32F594E-967C-4C7A-9D2F-71BAD7AAC28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1623" r="19671"/>
          <a:stretch/>
        </p:blipFill>
        <p:spPr>
          <a:xfrm>
            <a:off x="5633038" y="2259"/>
            <a:ext cx="6558962" cy="6362700"/>
          </a:xfrm>
          <a:prstGeom prst="rect">
            <a:avLst/>
          </a:prstGeom>
        </p:spPr>
      </p:pic>
      <p:sp>
        <p:nvSpPr>
          <p:cNvPr id="2" name="Rectangle 1">
            <a:extLst>
              <a:ext uri="{FF2B5EF4-FFF2-40B4-BE49-F238E27FC236}">
                <a16:creationId xmlns:a16="http://schemas.microsoft.com/office/drawing/2014/main" id="{DD129BCE-7AB8-427A-B17C-45612D5C2075}"/>
              </a:ext>
            </a:extLst>
          </p:cNvPr>
          <p:cNvSpPr/>
          <p:nvPr userDrawn="1"/>
        </p:nvSpPr>
        <p:spPr>
          <a:xfrm>
            <a:off x="5633038" y="0"/>
            <a:ext cx="6558962" cy="6364959"/>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63BB1A73-F8CA-4636-8FEE-67C82F65B85B}"/>
              </a:ext>
            </a:extLst>
          </p:cNvPr>
          <p:cNvSpPr/>
          <p:nvPr userDrawn="1"/>
        </p:nvSpPr>
        <p:spPr>
          <a:xfrm>
            <a:off x="0" y="6273209"/>
            <a:ext cx="12192000" cy="584791"/>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CDHHS COVID-19 Response</a:t>
            </a:r>
          </a:p>
        </p:txBody>
      </p:sp>
      <p:sp>
        <p:nvSpPr>
          <p:cNvPr id="4" name="Title 3">
            <a:extLst>
              <a:ext uri="{FF2B5EF4-FFF2-40B4-BE49-F238E27FC236}">
                <a16:creationId xmlns:a16="http://schemas.microsoft.com/office/drawing/2014/main" id="{708F948B-FD6F-4BF3-9161-A2668C5694B6}"/>
              </a:ext>
            </a:extLst>
          </p:cNvPr>
          <p:cNvSpPr>
            <a:spLocks noGrp="1"/>
          </p:cNvSpPr>
          <p:nvPr>
            <p:ph type="title"/>
          </p:nvPr>
        </p:nvSpPr>
        <p:spPr>
          <a:xfrm>
            <a:off x="406931" y="1316057"/>
            <a:ext cx="4873625" cy="1585913"/>
          </a:xfrm>
          <a:prstGeom prst="rect">
            <a:avLst/>
          </a:prstGeom>
        </p:spPr>
        <p:txBody>
          <a:bodyPr vert="horz" wrap="square" lIns="91440" tIns="45720" rIns="91440" bIns="45720" rtlCol="0" anchor="ctr" anchorCtr="0">
            <a:noAutofit/>
          </a:bodyPr>
          <a:lstStyle>
            <a:lvl1pPr marL="0" indent="0" algn="l">
              <a:lnSpc>
                <a:spcPct val="90000"/>
              </a:lnSpc>
              <a:spcBef>
                <a:spcPct val="0"/>
              </a:spcBef>
              <a:spcAft>
                <a:spcPts val="0"/>
              </a:spcAft>
              <a:buFontTx/>
              <a:buNone/>
              <a:defRPr lang="en-US" sz="3600" b="1" i="0">
                <a:solidFill>
                  <a:srgbClr val="294158"/>
                </a:solidFill>
                <a:latin typeface="EYInterstate Light"/>
                <a:cs typeface="Times New Roman"/>
              </a:defRPr>
            </a:lvl1pPr>
          </a:lstStyle>
          <a:p>
            <a:pPr lvl="0"/>
            <a:r>
              <a:rPr lang="en-US"/>
              <a:t>Click to edit Master title style</a:t>
            </a:r>
          </a:p>
        </p:txBody>
      </p:sp>
    </p:spTree>
    <p:extLst>
      <p:ext uri="{BB962C8B-B14F-4D97-AF65-F5344CB8AC3E}">
        <p14:creationId xmlns:p14="http://schemas.microsoft.com/office/powerpoint/2010/main" val="1067397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60E6A9-627C-4487-ABC7-23142BA71233}"/>
              </a:ext>
            </a:extLst>
          </p:cNvPr>
          <p:cNvGraphicFramePr>
            <a:graphicFrameLocks noChangeAspect="1"/>
          </p:cNvGraphicFramePr>
          <p:nvPr userDrawn="1">
            <p:custDataLst>
              <p:tags r:id="rId2"/>
            </p:custDataLst>
            <p:extLst>
              <p:ext uri="{D42A27DB-BD31-4B8C-83A1-F6EECF244321}">
                <p14:modId xmlns:p14="http://schemas.microsoft.com/office/powerpoint/2010/main" val="3585587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360E6A9-627C-4487-ABC7-23142BA712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mn-lt"/>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F32F594E-967C-4C7A-9D2F-71BAD7AAC28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1623" r="19671"/>
          <a:stretch/>
        </p:blipFill>
        <p:spPr>
          <a:xfrm>
            <a:off x="5633038" y="2259"/>
            <a:ext cx="6558962" cy="6362700"/>
          </a:xfrm>
          <a:prstGeom prst="rect">
            <a:avLst/>
          </a:prstGeom>
        </p:spPr>
      </p:pic>
      <p:sp>
        <p:nvSpPr>
          <p:cNvPr id="2" name="Rectangle 1">
            <a:extLst>
              <a:ext uri="{FF2B5EF4-FFF2-40B4-BE49-F238E27FC236}">
                <a16:creationId xmlns:a16="http://schemas.microsoft.com/office/drawing/2014/main" id="{DD129BCE-7AB8-427A-B17C-45612D5C2075}"/>
              </a:ext>
            </a:extLst>
          </p:cNvPr>
          <p:cNvSpPr/>
          <p:nvPr userDrawn="1"/>
        </p:nvSpPr>
        <p:spPr>
          <a:xfrm>
            <a:off x="5633038" y="0"/>
            <a:ext cx="6558962" cy="6364959"/>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63BB1A73-F8CA-4636-8FEE-67C82F65B85B}"/>
              </a:ext>
            </a:extLst>
          </p:cNvPr>
          <p:cNvSpPr/>
          <p:nvPr userDrawn="1"/>
        </p:nvSpPr>
        <p:spPr>
          <a:xfrm>
            <a:off x="0" y="6273209"/>
            <a:ext cx="12192000" cy="584791"/>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CDHHS COVID-19 Response</a:t>
            </a:r>
          </a:p>
        </p:txBody>
      </p:sp>
      <p:sp>
        <p:nvSpPr>
          <p:cNvPr id="4" name="Title 3">
            <a:extLst>
              <a:ext uri="{FF2B5EF4-FFF2-40B4-BE49-F238E27FC236}">
                <a16:creationId xmlns:a16="http://schemas.microsoft.com/office/drawing/2014/main" id="{708F948B-FD6F-4BF3-9161-A2668C5694B6}"/>
              </a:ext>
            </a:extLst>
          </p:cNvPr>
          <p:cNvSpPr>
            <a:spLocks noGrp="1"/>
          </p:cNvSpPr>
          <p:nvPr>
            <p:ph type="title"/>
          </p:nvPr>
        </p:nvSpPr>
        <p:spPr>
          <a:xfrm>
            <a:off x="406931" y="1316057"/>
            <a:ext cx="4873625" cy="1585913"/>
          </a:xfrm>
          <a:prstGeom prst="rect">
            <a:avLst/>
          </a:prstGeom>
        </p:spPr>
        <p:txBody>
          <a:bodyPr vert="horz" wrap="square" lIns="91440" tIns="45720" rIns="91440" bIns="45720" rtlCol="0" anchor="ctr" anchorCtr="0">
            <a:noAutofit/>
          </a:bodyPr>
          <a:lstStyle>
            <a:lvl1pPr marL="0" indent="0" algn="l">
              <a:lnSpc>
                <a:spcPct val="90000"/>
              </a:lnSpc>
              <a:spcBef>
                <a:spcPct val="0"/>
              </a:spcBef>
              <a:spcAft>
                <a:spcPts val="0"/>
              </a:spcAft>
              <a:buFontTx/>
              <a:buNone/>
              <a:defRPr lang="en-US" sz="3600" b="1" i="0">
                <a:solidFill>
                  <a:srgbClr val="294158"/>
                </a:solidFill>
                <a:latin typeface="EYInterstate Light"/>
                <a:cs typeface="Times New Roman"/>
              </a:defRPr>
            </a:lvl1pPr>
          </a:lstStyle>
          <a:p>
            <a:pPr lvl="0"/>
            <a:r>
              <a:rPr lang="en-US"/>
              <a:t>Click to edit Master title style</a:t>
            </a:r>
          </a:p>
        </p:txBody>
      </p:sp>
    </p:spTree>
    <p:extLst>
      <p:ext uri="{BB962C8B-B14F-4D97-AF65-F5344CB8AC3E}">
        <p14:creationId xmlns:p14="http://schemas.microsoft.com/office/powerpoint/2010/main" val="34169604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dirty="0">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sp>
        <p:nvSpPr>
          <p:cNvPr id="6" name="Text Placeholder 10">
            <a:extLst>
              <a:ext uri="{FF2B5EF4-FFF2-40B4-BE49-F238E27FC236}">
                <a16:creationId xmlns:a16="http://schemas.microsoft.com/office/drawing/2014/main" id="{4E3743DB-0EE0-402D-BAAC-B442ECB111EC}"/>
              </a:ext>
            </a:extLst>
          </p:cNvPr>
          <p:cNvSpPr>
            <a:spLocks noGrp="1"/>
          </p:cNvSpPr>
          <p:nvPr>
            <p:ph type="body" sz="quarter" idx="10"/>
          </p:nvPr>
        </p:nvSpPr>
        <p:spPr>
          <a:xfrm>
            <a:off x="356921" y="878820"/>
            <a:ext cx="11371784" cy="3598999"/>
          </a:xfrm>
          <a:prstGeom prst="rect">
            <a:avLst/>
          </a:prstGeom>
        </p:spPr>
        <p:txBody>
          <a:bodyPr vert="horz" wrap="square" lIns="0" tIns="12700" rIns="0" bIns="0" rtlCol="0" anchor="t" anchorCtr="0">
            <a:noAutofit/>
          </a:bodyPr>
          <a:lstStyle>
            <a:lvl1pPr marL="0" indent="0" algn="l">
              <a:lnSpc>
                <a:spcPct val="100000"/>
              </a:lnSpc>
              <a:spcBef>
                <a:spcPts val="0"/>
              </a:spcBef>
              <a:spcAft>
                <a:spcPts val="600"/>
              </a:spcAft>
              <a:buFontTx/>
              <a:buNone/>
              <a:defRPr lang="en-US" sz="1600" b="0" i="0" smtClean="0">
                <a:solidFill>
                  <a:srgbClr val="000000"/>
                </a:solidFill>
                <a:latin typeface="EYInterstate"/>
              </a:defRPr>
            </a:lvl1pPr>
            <a:lvl2pPr marL="228600" indent="0">
              <a:buNone/>
              <a:defRPr lang="en-US" sz="1800" smtClean="0"/>
            </a:lvl2pPr>
            <a:lvl3pPr>
              <a:defRPr lang="en-US" sz="1800" smtClean="0"/>
            </a:lvl3pPr>
            <a:lvl4pPr>
              <a:defRPr lang="en-US" smtClean="0"/>
            </a:lvl4pPr>
            <a:lvl5pPr>
              <a:defRPr lang="en-US"/>
            </a:lvl5pPr>
          </a:lstStyle>
          <a:p>
            <a:pPr marL="12065" marR="5080" lvl="0" defTabSz="457200">
              <a:spcAft>
                <a:spcPts val="600"/>
              </a:spcAft>
              <a:tabLst>
                <a:tab pos="241300" algn="l"/>
              </a:tabLst>
            </a:pPr>
            <a:r>
              <a:rPr lang="en-US"/>
              <a:t>Click to edit Master text styles</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29195344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dirty="0">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20764609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dirty="0">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37718185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 preserve="1">
  <p:cSld name="2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dirty="0">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34070774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dirty="0">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104479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microsoft.com/office/2007/relationships/hdphoto" Target="../media/hdphoto1.wdp"/><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3D1E28-842D-48A5-BD87-D7F26FFC1AF3}"/>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Holder 6">
            <a:extLst>
              <a:ext uri="{FF2B5EF4-FFF2-40B4-BE49-F238E27FC236}">
                <a16:creationId xmlns:a16="http://schemas.microsoft.com/office/drawing/2014/main" id="{4910378C-EB16-4E86-8780-3EE9D517A147}"/>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dirty="0">
              <a:solidFill>
                <a:srgbClr val="808080"/>
              </a:solidFill>
              <a:latin typeface="Century Gothic" panose="020B0502020202020204" pitchFamily="34" charset="0"/>
            </a:endParaRPr>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2" r:id="rId1"/>
    <p:sldLayoutId id="2147483676" r:id="rId2"/>
    <p:sldLayoutId id="2147483672" r:id="rId3"/>
    <p:sldLayoutId id="2147483673" r:id="rId4"/>
    <p:sldLayoutId id="2147483680" r:id="rId5"/>
    <p:sldLayoutId id="2147483675" r:id="rId6"/>
    <p:sldLayoutId id="2147483679" r:id="rId7"/>
    <p:sldLayoutId id="2147483674"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xml"/><Relationship Id="rId7" Type="http://schemas.openxmlformats.org/officeDocument/2006/relationships/image" Target="../media/image20.jpe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xml"/><Relationship Id="rId7" Type="http://schemas.openxmlformats.org/officeDocument/2006/relationships/image" Target="../media/image22.jpe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xml"/><Relationship Id="rId7" Type="http://schemas.openxmlformats.org/officeDocument/2006/relationships/image" Target="../media/image24.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hyperlink" Target="https://help.salesforce.com/articleView?id=getstart_browsers_sfx.htm&amp;type=5" TargetMode="External"/><Relationship Id="rId3" Type="http://schemas.openxmlformats.org/officeDocument/2006/relationships/slideLayout" Target="../slideLayouts/slideLayout4.xml"/><Relationship Id="rId7" Type="http://schemas.openxmlformats.org/officeDocument/2006/relationships/hyperlink" Target="https://ncgov.servicenowservices.com/csm_vaccine?id=kb_home" TargetMode="External"/><Relationship Id="rId12" Type="http://schemas.openxmlformats.org/officeDocument/2006/relationships/image" Target="../media/image29.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5.emf"/><Relationship Id="rId11" Type="http://schemas.openxmlformats.org/officeDocument/2006/relationships/image" Target="../media/image28.png"/><Relationship Id="rId5" Type="http://schemas.openxmlformats.org/officeDocument/2006/relationships/oleObject" Target="../embeddings/oleObject5.bin"/><Relationship Id="rId10" Type="http://schemas.openxmlformats.org/officeDocument/2006/relationships/image" Target="../media/image27.png"/><Relationship Id="rId4" Type="http://schemas.openxmlformats.org/officeDocument/2006/relationships/notesSlide" Target="../notesSlides/notesSlide13.xml"/><Relationship Id="rId9"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hyperlink" Target="https://ncgov.servicenowservices.com/csm_vaccine" TargetMode="External"/><Relationship Id="rId1" Type="http://schemas.openxmlformats.org/officeDocument/2006/relationships/slideLayout" Target="../slideLayouts/slideLayout8.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xml"/><Relationship Id="rId7" Type="http://schemas.openxmlformats.org/officeDocument/2006/relationships/hyperlink" Target="https://ncgov.servicenowservices.com/csm_vaccine" TargetMode="Externa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5.xml"/><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xml"/><Relationship Id="rId7" Type="http://schemas.openxmlformats.org/officeDocument/2006/relationships/image" Target="../media/image17.jpe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6.bin"/><Relationship Id="rId10" Type="http://schemas.openxmlformats.org/officeDocument/2006/relationships/image" Target="../media/image16.png"/><Relationship Id="rId4" Type="http://schemas.openxmlformats.org/officeDocument/2006/relationships/notesSlide" Target="../notesSlides/notesSlide6.xml"/><Relationship Id="rId9" Type="http://schemas.openxmlformats.org/officeDocument/2006/relationships/image" Target="../media/image19.jpeg"/></Relationships>
</file>

<file path=ppt/slides/_rels/slide8.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1.xml"/><Relationship Id="rId7" Type="http://schemas.openxmlformats.org/officeDocument/2006/relationships/image" Target="../media/image20.jpe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xml"/><Relationship Id="rId7" Type="http://schemas.openxmlformats.org/officeDocument/2006/relationships/image" Target="../media/image20.jpe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7F47A66F-7D6D-6042-A4EB-AF4CAEA86DDB}"/>
              </a:ext>
            </a:extLst>
          </p:cNvPr>
          <p:cNvSpPr>
            <a:spLocks noGrp="1"/>
          </p:cNvSpPr>
          <p:nvPr>
            <p:ph type="subTitle" idx="1"/>
          </p:nvPr>
        </p:nvSpPr>
        <p:spPr>
          <a:xfrm>
            <a:off x="480791" y="3808429"/>
            <a:ext cx="3745970" cy="743943"/>
          </a:xfrm>
        </p:spPr>
        <p:txBody>
          <a:bodyPr lIns="91440" tIns="45720" rIns="91440" bIns="45720" anchor="b">
            <a:normAutofit/>
          </a:bodyPr>
          <a:lstStyle/>
          <a:p>
            <a:pPr algn="l"/>
            <a:r>
              <a:rPr lang="en-US" sz="1600" dirty="0">
                <a:latin typeface="EYInterstate"/>
                <a:cs typeface="Calibri"/>
              </a:rPr>
              <a:t>Version 1</a:t>
            </a:r>
            <a:endParaRPr lang="en-US" sz="1600" dirty="0">
              <a:latin typeface="EYInterstate" panose="02000503020000020004" pitchFamily="2" charset="0"/>
              <a:cs typeface="Calibri"/>
            </a:endParaRPr>
          </a:p>
          <a:p>
            <a:pPr algn="l"/>
            <a:r>
              <a:rPr lang="en-US" sz="1600" dirty="0">
                <a:latin typeface="EYInterstate"/>
                <a:cs typeface="Calibri"/>
              </a:rPr>
              <a:t>January 27, 2021</a:t>
            </a:r>
            <a:endParaRPr lang="en-US" sz="1600" dirty="0">
              <a:latin typeface="EYInterstate"/>
            </a:endParaRPr>
          </a:p>
        </p:txBody>
      </p:sp>
      <p:sp>
        <p:nvSpPr>
          <p:cNvPr id="2" name="Title 1">
            <a:extLst>
              <a:ext uri="{FF2B5EF4-FFF2-40B4-BE49-F238E27FC236}">
                <a16:creationId xmlns:a16="http://schemas.microsoft.com/office/drawing/2014/main" id="{BC00BD3B-220C-784F-A2E2-B8BF525AC13A}"/>
              </a:ext>
            </a:extLst>
          </p:cNvPr>
          <p:cNvSpPr>
            <a:spLocks noGrp="1"/>
          </p:cNvSpPr>
          <p:nvPr>
            <p:ph type="ctrTitle"/>
          </p:nvPr>
        </p:nvSpPr>
        <p:spPr>
          <a:xfrm>
            <a:off x="406931" y="385876"/>
            <a:ext cx="4873625" cy="2901970"/>
          </a:xfrm>
          <a:prstGeom prst="rect">
            <a:avLst/>
          </a:prstGeom>
        </p:spPr>
        <p:txBody>
          <a:bodyPr lIns="91440" tIns="45720" rIns="91440" bIns="45720" anchor="ctr">
            <a:noAutofit/>
          </a:bodyPr>
          <a:lstStyle/>
          <a:p>
            <a:r>
              <a:rPr lang="en-US" sz="2800" dirty="0">
                <a:latin typeface="EYInterstate" panose="02000503020000020004"/>
              </a:rPr>
              <a:t>North Carolina COVID-19 Vaccine Management System</a:t>
            </a:r>
            <a:br>
              <a:rPr lang="en-US" sz="2800" dirty="0">
                <a:latin typeface="EYInterstate" panose="02000503020000020004"/>
              </a:rPr>
            </a:br>
            <a:br>
              <a:rPr lang="en-US" sz="2800" b="1" dirty="0">
                <a:solidFill>
                  <a:srgbClr val="294158"/>
                </a:solidFill>
                <a:latin typeface="EYInterstate" panose="02000503020000020004"/>
              </a:rPr>
            </a:br>
            <a:r>
              <a:rPr lang="en-US" sz="2800" b="1" dirty="0">
                <a:solidFill>
                  <a:srgbClr val="294158"/>
                </a:solidFill>
                <a:latin typeface="EYInterstate" panose="02000503020000020004"/>
              </a:rPr>
              <a:t>How to </a:t>
            </a:r>
            <a:r>
              <a:rPr lang="en-US" sz="2800" b="1" dirty="0">
                <a:solidFill>
                  <a:srgbClr val="294158"/>
                </a:solidFill>
                <a:latin typeface="EYInterstate" panose="02000503020000020004" pitchFamily="2" charset="0"/>
              </a:rPr>
              <a:t>Submit a Ticket through the CVMS Help Desk Portal – </a:t>
            </a:r>
            <a:br>
              <a:rPr lang="en-US" sz="2800" b="1" dirty="0">
                <a:solidFill>
                  <a:srgbClr val="294158"/>
                </a:solidFill>
                <a:latin typeface="EYInterstate" panose="02000503020000020004" pitchFamily="2" charset="0"/>
              </a:rPr>
            </a:br>
            <a:r>
              <a:rPr lang="en-US" sz="2800" b="1" dirty="0">
                <a:solidFill>
                  <a:srgbClr val="294158"/>
                </a:solidFill>
                <a:latin typeface="EYInterstate" panose="02000503020000020004"/>
              </a:rPr>
              <a:t>Recipient User Guide</a:t>
            </a:r>
            <a:endParaRPr lang="en-US" sz="2800" dirty="0"/>
          </a:p>
        </p:txBody>
      </p:sp>
      <p:sp>
        <p:nvSpPr>
          <p:cNvPr id="15" name="Title 1">
            <a:extLst>
              <a:ext uri="{FF2B5EF4-FFF2-40B4-BE49-F238E27FC236}">
                <a16:creationId xmlns:a16="http://schemas.microsoft.com/office/drawing/2014/main" id="{223C3761-22F5-CA44-A519-D3DF7B18CD73}"/>
              </a:ext>
            </a:extLst>
          </p:cNvPr>
          <p:cNvSpPr txBox="1">
            <a:spLocks/>
          </p:cNvSpPr>
          <p:nvPr/>
        </p:nvSpPr>
        <p:spPr>
          <a:xfrm>
            <a:off x="406931" y="2767262"/>
            <a:ext cx="4874682" cy="1252783"/>
          </a:xfrm>
        </p:spPr>
        <p:txBody>
          <a:bodyPr anchor="ctr">
            <a:normAutofit/>
          </a:bodyPr>
          <a:lstStyle>
            <a:lvl1pPr algn="ctr" defTabSz="913943" rtl="0" eaLnBrk="1" latinLnBrk="0" hangingPunct="1">
              <a:lnSpc>
                <a:spcPct val="85000"/>
              </a:lnSpc>
              <a:spcBef>
                <a:spcPct val="0"/>
              </a:spcBef>
              <a:buNone/>
              <a:defRPr sz="6000" b="1" kern="1200">
                <a:solidFill>
                  <a:schemeClr val="bg1"/>
                </a:solidFill>
                <a:latin typeface="Century Gothic" panose="020B0502020202020204" pitchFamily="34"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EYInterstate Light" panose="02000506000000020004" pitchFamily="2" charset="0"/>
              <a:ea typeface="+mj-ea"/>
              <a:cs typeface="Times New Roman"/>
            </a:endParaRPr>
          </a:p>
        </p:txBody>
      </p:sp>
    </p:spTree>
    <p:extLst>
      <p:ext uri="{BB962C8B-B14F-4D97-AF65-F5344CB8AC3E}">
        <p14:creationId xmlns:p14="http://schemas.microsoft.com/office/powerpoint/2010/main" val="245985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5 of </a:t>
            </a:r>
            <a:r>
              <a:rPr lang="en-US" sz="2000" b="1" dirty="0">
                <a:ln w="0">
                  <a:noFill/>
                </a:ln>
                <a:solidFill>
                  <a:srgbClr val="000000"/>
                </a:solidFill>
                <a:latin typeface="EYInterstate"/>
                <a:cs typeface="Arial"/>
              </a:rPr>
              <a:t>7</a:t>
            </a: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 Add Attachments</a:t>
            </a:r>
          </a:p>
        </p:txBody>
      </p:sp>
      <p:sp>
        <p:nvSpPr>
          <p:cNvPr id="21" name="object 4">
            <a:extLst>
              <a:ext uri="{FF2B5EF4-FFF2-40B4-BE49-F238E27FC236}">
                <a16:creationId xmlns:a16="http://schemas.microsoft.com/office/drawing/2014/main" id="{97484700-38C9-49CC-AFE3-401E5C2E2E73}"/>
              </a:ext>
            </a:extLst>
          </p:cNvPr>
          <p:cNvSpPr txBox="1"/>
          <p:nvPr/>
        </p:nvSpPr>
        <p:spPr>
          <a:xfrm>
            <a:off x="253934" y="1043819"/>
            <a:ext cx="9255826" cy="566822"/>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dirty="0">
                <a:latin typeface="EYInterstate" panose="02000503020000020004" pitchFamily="2" charset="0"/>
              </a:rPr>
              <a:t>To add additional documents that may clarify your request (for example a screenshot of your issue), select </a:t>
            </a:r>
            <a:r>
              <a:rPr lang="en-US" b="1" dirty="0">
                <a:latin typeface="EYInterstate" panose="02000503020000020004" pitchFamily="2" charset="0"/>
              </a:rPr>
              <a:t>Add attachments</a:t>
            </a:r>
            <a:r>
              <a:rPr lang="en-US" dirty="0">
                <a:latin typeface="EYInterstate" panose="02000503020000020004" pitchFamily="2" charset="0"/>
              </a:rPr>
              <a:t> in the bottom right corner of the intake form. </a:t>
            </a:r>
            <a:endParaRPr kumimoji="0" lang="en-US" b="1" i="0" u="none" strike="noStrike" kern="1200" cap="none" spc="0" normalizeH="0" baseline="0" noProof="0" dirty="0">
              <a:ln>
                <a:noFill/>
              </a:ln>
              <a:solidFill>
                <a:srgbClr val="000000"/>
              </a:solidFill>
              <a:effectLst/>
              <a:uLnTx/>
              <a:uFillTx/>
              <a:latin typeface="EYInterstate" panose="02000503020000020004" pitchFamily="2" charset="0"/>
            </a:endParaRPr>
          </a:p>
        </p:txBody>
      </p:sp>
      <p:sp>
        <p:nvSpPr>
          <p:cNvPr id="13" name="Rectangle 12">
            <a:extLst>
              <a:ext uri="{FF2B5EF4-FFF2-40B4-BE49-F238E27FC236}">
                <a16:creationId xmlns:a16="http://schemas.microsoft.com/office/drawing/2014/main" id="{4A8ACE6D-F60F-4F13-8143-CCF51A175A37}"/>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20" name="Rectangle 19">
            <a:extLst>
              <a:ext uri="{FF2B5EF4-FFF2-40B4-BE49-F238E27FC236}">
                <a16:creationId xmlns:a16="http://schemas.microsoft.com/office/drawing/2014/main" id="{3CEF303B-DAEF-4960-8212-6FDC11DC4F7B}"/>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lvl="0" algn="ctr">
              <a:defRPr/>
            </a:pPr>
            <a:r>
              <a:rPr lang="en-US" sz="1100" b="1" dirty="0">
                <a:solidFill>
                  <a:schemeClr val="tx1"/>
                </a:solidFill>
                <a:latin typeface="EYInterstate"/>
              </a:rPr>
              <a:t>Vaccine Recipients</a:t>
            </a:r>
          </a:p>
        </p:txBody>
      </p:sp>
      <p:sp>
        <p:nvSpPr>
          <p:cNvPr id="9" name="TextBox 8">
            <a:extLst>
              <a:ext uri="{FF2B5EF4-FFF2-40B4-BE49-F238E27FC236}">
                <a16:creationId xmlns:a16="http://schemas.microsoft.com/office/drawing/2014/main" id="{8569572A-9470-425C-858D-8599D3F1B943}"/>
              </a:ext>
            </a:extLst>
          </p:cNvPr>
          <p:cNvSpPr txBox="1"/>
          <p:nvPr/>
        </p:nvSpPr>
        <p:spPr>
          <a:xfrm>
            <a:off x="9868365" y="2399497"/>
            <a:ext cx="1946503"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Note</a:t>
            </a:r>
          </a:p>
          <a:p>
            <a:pPr lvl="0">
              <a:spcAft>
                <a:spcPts val="600"/>
              </a:spcAft>
              <a:buClr>
                <a:srgbClr val="4472C4"/>
              </a:buClr>
              <a:buSzPct val="70000"/>
              <a:defRPr/>
            </a:pPr>
            <a:r>
              <a:rPr lang="en-US" sz="1400" dirty="0">
                <a:latin typeface="EYInterstate" panose="02000503020000020004" pitchFamily="2" charset="0"/>
              </a:rPr>
              <a:t>This step is not required for submission, if not applicable.</a:t>
            </a:r>
            <a:endParaRPr kumimoji="0" lang="en-US" sz="1400" b="1" i="0" u="none" strike="noStrike" kern="1200" cap="none" spc="0" normalizeH="0" baseline="0" noProof="0" dirty="0">
              <a:ln>
                <a:noFill/>
              </a:ln>
              <a:solidFill>
                <a:srgbClr val="000000"/>
              </a:solidFill>
              <a:effectLst/>
              <a:uLnTx/>
              <a:uFillTx/>
              <a:latin typeface="EYInterstate"/>
              <a:ea typeface="+mn-ea"/>
              <a:cs typeface="+mn-cs"/>
            </a:endParaRPr>
          </a:p>
        </p:txBody>
      </p:sp>
      <p:grpSp>
        <p:nvGrpSpPr>
          <p:cNvPr id="2" name="Group 1">
            <a:extLst>
              <a:ext uri="{FF2B5EF4-FFF2-40B4-BE49-F238E27FC236}">
                <a16:creationId xmlns:a16="http://schemas.microsoft.com/office/drawing/2014/main" id="{4B840613-3426-4E5E-9477-24E7F3026B4B}"/>
              </a:ext>
            </a:extLst>
          </p:cNvPr>
          <p:cNvGrpSpPr/>
          <p:nvPr/>
        </p:nvGrpSpPr>
        <p:grpSpPr>
          <a:xfrm>
            <a:off x="894146" y="1988648"/>
            <a:ext cx="7845320" cy="2880703"/>
            <a:chOff x="894146" y="1988648"/>
            <a:chExt cx="7845320" cy="2880703"/>
          </a:xfrm>
        </p:grpSpPr>
        <p:pic>
          <p:nvPicPr>
            <p:cNvPr id="10" name="Picture 3">
              <a:extLst>
                <a:ext uri="{FF2B5EF4-FFF2-40B4-BE49-F238E27FC236}">
                  <a16:creationId xmlns:a16="http://schemas.microsoft.com/office/drawing/2014/main" id="{2E6996E6-A8FF-43A0-8D51-58E7FE14026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4146" y="1988648"/>
              <a:ext cx="7845320" cy="2880703"/>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pic>
          <p:nvPicPr>
            <p:cNvPr id="11" name="Picture 5" descr="Shape">
              <a:extLst>
                <a:ext uri="{FF2B5EF4-FFF2-40B4-BE49-F238E27FC236}">
                  <a16:creationId xmlns:a16="http://schemas.microsoft.com/office/drawing/2014/main" id="{28ABF78E-E594-46E7-A538-6742B54F56C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23133" y="4141514"/>
              <a:ext cx="1516333" cy="58796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42000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6 of 7: </a:t>
            </a:r>
            <a:r>
              <a:rPr lang="en-US" sz="2000" b="1" dirty="0">
                <a:ln w="0">
                  <a:noFill/>
                </a:ln>
                <a:solidFill>
                  <a:srgbClr val="000000"/>
                </a:solidFill>
                <a:latin typeface="EYInterstate"/>
                <a:cs typeface="Arial"/>
              </a:rPr>
              <a:t>Submit</a:t>
            </a:r>
            <a:endParaRPr kumimoji="0" lang="en-US" sz="2000" b="1" i="0" u="none" strike="noStrike" kern="1200" cap="none" spc="0" normalizeH="0" baseline="0" noProof="0" dirty="0">
              <a:ln w="0">
                <a:noFill/>
              </a:ln>
              <a:solidFill>
                <a:srgbClr val="000000"/>
              </a:solidFill>
              <a:effectLst/>
              <a:uLnTx/>
              <a:uFillTx/>
              <a:latin typeface="EYInterstate"/>
              <a:ea typeface="+mj-ea"/>
              <a:cs typeface="Arial"/>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349183" y="968114"/>
            <a:ext cx="9125745" cy="566822"/>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dirty="0">
                <a:latin typeface="EYInterstate" panose="02000503020000020004" pitchFamily="2" charset="0"/>
              </a:rPr>
              <a:t>Once the vaccine recipient Help Desk ticket form is completed, you can select the </a:t>
            </a:r>
            <a:r>
              <a:rPr lang="en-US" b="1" dirty="0">
                <a:latin typeface="EYInterstate" panose="02000503020000020004" pitchFamily="2" charset="0"/>
              </a:rPr>
              <a:t>Submit </a:t>
            </a:r>
            <a:r>
              <a:rPr lang="en-US" dirty="0">
                <a:latin typeface="EYInterstate" panose="02000503020000020004" pitchFamily="2" charset="0"/>
              </a:rPr>
              <a:t>button</a:t>
            </a:r>
            <a:r>
              <a:rPr lang="en-US" b="1" dirty="0">
                <a:latin typeface="EYInterstate" panose="02000503020000020004" pitchFamily="2" charset="0"/>
              </a:rPr>
              <a:t> </a:t>
            </a:r>
            <a:r>
              <a:rPr lang="en-US" dirty="0">
                <a:latin typeface="EYInterstate" panose="02000503020000020004" pitchFamily="2" charset="0"/>
              </a:rPr>
              <a:t>on the right side of your screen. </a:t>
            </a:r>
            <a:endParaRPr kumimoji="0" lang="en-US" b="1" i="0" u="none" strike="noStrike" kern="1200" cap="none" spc="0" normalizeH="0" baseline="0" noProof="0" dirty="0">
              <a:ln>
                <a:noFill/>
              </a:ln>
              <a:solidFill>
                <a:srgbClr val="000000"/>
              </a:solidFill>
              <a:effectLst/>
              <a:uLnTx/>
              <a:uFillTx/>
              <a:latin typeface="EYInterstate" panose="02000503020000020004" pitchFamily="2" charset="0"/>
            </a:endParaRPr>
          </a:p>
        </p:txBody>
      </p:sp>
      <p:sp>
        <p:nvSpPr>
          <p:cNvPr id="13" name="Rectangle 12">
            <a:extLst>
              <a:ext uri="{FF2B5EF4-FFF2-40B4-BE49-F238E27FC236}">
                <a16:creationId xmlns:a16="http://schemas.microsoft.com/office/drawing/2014/main" id="{4A8ACE6D-F60F-4F13-8143-CCF51A175A37}"/>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20" name="Rectangle 19">
            <a:extLst>
              <a:ext uri="{FF2B5EF4-FFF2-40B4-BE49-F238E27FC236}">
                <a16:creationId xmlns:a16="http://schemas.microsoft.com/office/drawing/2014/main" id="{3CEF303B-DAEF-4960-8212-6FDC11DC4F7B}"/>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lvl="0" algn="ctr">
              <a:defRPr/>
            </a:pPr>
            <a:r>
              <a:rPr lang="en-US" sz="1100" b="1" dirty="0">
                <a:solidFill>
                  <a:schemeClr val="tx1"/>
                </a:solidFill>
                <a:latin typeface="EYInterstate"/>
              </a:rPr>
              <a:t>Vaccine Recipients</a:t>
            </a:r>
          </a:p>
        </p:txBody>
      </p:sp>
      <p:grpSp>
        <p:nvGrpSpPr>
          <p:cNvPr id="2" name="Group 1">
            <a:extLst>
              <a:ext uri="{FF2B5EF4-FFF2-40B4-BE49-F238E27FC236}">
                <a16:creationId xmlns:a16="http://schemas.microsoft.com/office/drawing/2014/main" id="{D5222F22-5217-466B-AF99-ED32213AD190}"/>
              </a:ext>
            </a:extLst>
          </p:cNvPr>
          <p:cNvGrpSpPr/>
          <p:nvPr/>
        </p:nvGrpSpPr>
        <p:grpSpPr>
          <a:xfrm>
            <a:off x="349183" y="2573461"/>
            <a:ext cx="9125745" cy="1711077"/>
            <a:chOff x="349183" y="2573461"/>
            <a:chExt cx="9125745" cy="1711077"/>
          </a:xfrm>
        </p:grpSpPr>
        <p:pic>
          <p:nvPicPr>
            <p:cNvPr id="30723" name="Picture 3">
              <a:extLst>
                <a:ext uri="{FF2B5EF4-FFF2-40B4-BE49-F238E27FC236}">
                  <a16:creationId xmlns:a16="http://schemas.microsoft.com/office/drawing/2014/main" id="{4073E249-129D-4537-AD4A-B059F792B05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9183" y="2573461"/>
              <a:ext cx="9125745" cy="1711077"/>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pic>
          <p:nvPicPr>
            <p:cNvPr id="30725" name="Picture 5" descr="Shape">
              <a:extLst>
                <a:ext uri="{FF2B5EF4-FFF2-40B4-BE49-F238E27FC236}">
                  <a16:creationId xmlns:a16="http://schemas.microsoft.com/office/drawing/2014/main" id="{05ED6FFA-519C-4287-9007-3B0B2FD3F4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48183" y="3510367"/>
              <a:ext cx="1658937" cy="77417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347332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7 of 7: Receive Ticket Submission Confirmation</a:t>
            </a:r>
          </a:p>
        </p:txBody>
      </p:sp>
      <p:sp>
        <p:nvSpPr>
          <p:cNvPr id="21" name="object 4">
            <a:extLst>
              <a:ext uri="{FF2B5EF4-FFF2-40B4-BE49-F238E27FC236}">
                <a16:creationId xmlns:a16="http://schemas.microsoft.com/office/drawing/2014/main" id="{97484700-38C9-49CC-AFE3-401E5C2E2E73}"/>
              </a:ext>
            </a:extLst>
          </p:cNvPr>
          <p:cNvSpPr txBox="1"/>
          <p:nvPr/>
        </p:nvSpPr>
        <p:spPr>
          <a:xfrm>
            <a:off x="349185" y="878820"/>
            <a:ext cx="9125745" cy="1274708"/>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dirty="0">
                <a:latin typeface="EYInterstate" panose="02000503020000020004" pitchFamily="2" charset="0"/>
              </a:rPr>
              <a:t>You should receive your ticket number and associated notifications via email. </a:t>
            </a:r>
          </a:p>
          <a:p>
            <a:pPr marL="12065" marR="5080" defTabSz="457200">
              <a:spcAft>
                <a:spcPts val="600"/>
              </a:spcAft>
              <a:tabLst>
                <a:tab pos="241300" algn="l"/>
              </a:tabLst>
              <a:defRPr/>
            </a:pPr>
            <a:endParaRPr lang="en-US" dirty="0">
              <a:latin typeface="EYInterstate" panose="02000503020000020004" pitchFamily="2" charset="0"/>
            </a:endParaRPr>
          </a:p>
          <a:p>
            <a:pPr marL="12065" marR="5080" defTabSz="457200">
              <a:spcAft>
                <a:spcPts val="600"/>
              </a:spcAft>
              <a:tabLst>
                <a:tab pos="241300" algn="l"/>
              </a:tabLst>
              <a:defRPr/>
            </a:pPr>
            <a:r>
              <a:rPr lang="en-US" dirty="0">
                <a:latin typeface="EYInterstate" panose="02000503020000020004" pitchFamily="2" charset="0"/>
              </a:rPr>
              <a:t>After the ticket submission, you may be brought to the screen shown below. This screen shows you your ticket’s lifespan and will be updated when any updates to your ticket become available.</a:t>
            </a:r>
            <a:endParaRPr kumimoji="0" lang="en-US" sz="1600" b="1" i="0" u="none" strike="noStrike" kern="1200" cap="none" spc="0" normalizeH="0" baseline="0" noProof="0" dirty="0">
              <a:ln>
                <a:noFill/>
              </a:ln>
              <a:solidFill>
                <a:srgbClr val="000000"/>
              </a:solidFill>
              <a:effectLst/>
              <a:uLnTx/>
              <a:uFillTx/>
              <a:latin typeface="EYInterstate" panose="02000503020000020004" pitchFamily="2" charset="0"/>
            </a:endParaRPr>
          </a:p>
        </p:txBody>
      </p:sp>
      <p:sp>
        <p:nvSpPr>
          <p:cNvPr id="13" name="Rectangle 12">
            <a:extLst>
              <a:ext uri="{FF2B5EF4-FFF2-40B4-BE49-F238E27FC236}">
                <a16:creationId xmlns:a16="http://schemas.microsoft.com/office/drawing/2014/main" id="{4A8ACE6D-F60F-4F13-8143-CCF51A175A37}"/>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20" name="Rectangle 19">
            <a:extLst>
              <a:ext uri="{FF2B5EF4-FFF2-40B4-BE49-F238E27FC236}">
                <a16:creationId xmlns:a16="http://schemas.microsoft.com/office/drawing/2014/main" id="{3CEF303B-DAEF-4960-8212-6FDC11DC4F7B}"/>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lvl="0" algn="ctr">
              <a:defRPr/>
            </a:pPr>
            <a:r>
              <a:rPr lang="en-US" sz="1100" b="1" dirty="0">
                <a:solidFill>
                  <a:schemeClr val="tx1"/>
                </a:solidFill>
                <a:latin typeface="EYInterstate"/>
              </a:rPr>
              <a:t>Vaccine Recipients</a:t>
            </a:r>
          </a:p>
        </p:txBody>
      </p:sp>
      <p:pic>
        <p:nvPicPr>
          <p:cNvPr id="32772" name="Picture 4" descr="A picture containing graphical user interface&#10;&#10;Description automatically generated">
            <a:extLst>
              <a:ext uri="{FF2B5EF4-FFF2-40B4-BE49-F238E27FC236}">
                <a16:creationId xmlns:a16="http://schemas.microsoft.com/office/drawing/2014/main" id="{239E4589-61D6-4AD1-8506-9125521696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02562" y="2829559"/>
            <a:ext cx="4618990" cy="2606785"/>
          </a:xfrm>
          <a:prstGeom prst="rect">
            <a:avLst/>
          </a:prstGeom>
          <a:noFill/>
          <a:extLst>
            <a:ext uri="{909E8E84-426E-40DD-AFC4-6F175D3DCCD1}">
              <a14:hiddenFill xmlns:a14="http://schemas.microsoft.com/office/drawing/2010/main">
                <a:solidFill>
                  <a:srgbClr val="FFFFFF"/>
                </a:solidFill>
              </a14:hiddenFill>
            </a:ext>
          </a:extLst>
        </p:spPr>
      </p:pic>
      <p:pic>
        <p:nvPicPr>
          <p:cNvPr id="32774" name="Picture 6" descr="Shape">
            <a:extLst>
              <a:ext uri="{FF2B5EF4-FFF2-40B4-BE49-F238E27FC236}">
                <a16:creationId xmlns:a16="http://schemas.microsoft.com/office/drawing/2014/main" id="{380D6348-0E5B-45BB-8A75-F3B9AC1842E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30183" y="3444240"/>
            <a:ext cx="1529471" cy="1930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8930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2222083" cy="646331"/>
          </a:xfrm>
          <a:prstGeom prst="rect">
            <a:avLst/>
          </a:prstGeom>
          <a:noFill/>
        </p:spPr>
        <p:txBody>
          <a:bodyPr wrap="none" rtlCol="0">
            <a:spAutoFit/>
          </a:bodyPr>
          <a:lstStyle/>
          <a:p>
            <a:pPr lvl="0">
              <a:defRPr/>
            </a:pPr>
            <a:r>
              <a:rPr lang="en-US" sz="3600" b="1" dirty="0">
                <a:solidFill>
                  <a:prstClr val="white"/>
                </a:solidFill>
                <a:latin typeface="EYInterstate" panose="02000503020000020004" pitchFamily="2" charset="0"/>
              </a:rPr>
              <a:t>Appendix</a:t>
            </a:r>
            <a:endParaRPr lang="en-US" sz="2400" b="1" dirty="0">
              <a:solidFill>
                <a:prstClr val="white"/>
              </a:solidFill>
              <a:latin typeface="EYInterstate" panose="02000503020000020004" pitchFamily="2" charset="0"/>
            </a:endParaRPr>
          </a:p>
        </p:txBody>
      </p:sp>
    </p:spTree>
    <p:extLst>
      <p:ext uri="{BB962C8B-B14F-4D97-AF65-F5344CB8AC3E}">
        <p14:creationId xmlns:p14="http://schemas.microsoft.com/office/powerpoint/2010/main" val="38130866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Additional Notes</a:t>
            </a:r>
          </a:p>
        </p:txBody>
      </p:sp>
      <p:cxnSp>
        <p:nvCxnSpPr>
          <p:cNvPr id="9" name="Straight Arrow Connector 8">
            <a:extLst>
              <a:ext uri="{FF2B5EF4-FFF2-40B4-BE49-F238E27FC236}">
                <a16:creationId xmlns:a16="http://schemas.microsoft.com/office/drawing/2014/main" id="{CE0EA485-49A3-4D08-AC46-48F0A11D58BA}"/>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6" name="object 4">
            <a:extLst>
              <a:ext uri="{FF2B5EF4-FFF2-40B4-BE49-F238E27FC236}">
                <a16:creationId xmlns:a16="http://schemas.microsoft.com/office/drawing/2014/main" id="{E841121C-0B87-45EF-9992-D117D47969D7}"/>
              </a:ext>
            </a:extLst>
          </p:cNvPr>
          <p:cNvSpPr txBox="1"/>
          <p:nvPr/>
        </p:nvSpPr>
        <p:spPr>
          <a:xfrm>
            <a:off x="407743" y="833500"/>
            <a:ext cx="11474771" cy="5039841"/>
          </a:xfrm>
          <a:prstGeom prst="rect">
            <a:avLst/>
          </a:prstGeom>
        </p:spPr>
        <p:txBody>
          <a:bodyPr vert="horz" wrap="square" lIns="0" tIns="12700" rIns="0" bIns="0" rtlCol="0" anchor="t">
            <a:spAutoFit/>
          </a:bodyPr>
          <a:lstStyle/>
          <a:p>
            <a:pPr marL="12065" marR="5080" defTabSz="457200">
              <a:lnSpc>
                <a:spcPct val="150000"/>
              </a:lnSpc>
              <a:spcBef>
                <a:spcPts val="100"/>
              </a:spcBef>
              <a:tabLst>
                <a:tab pos="241300" algn="l"/>
              </a:tabLst>
              <a:defRPr/>
            </a:pPr>
            <a:r>
              <a:rPr lang="en-US" sz="1600" b="1" dirty="0">
                <a:solidFill>
                  <a:srgbClr val="000000"/>
                </a:solidFill>
                <a:latin typeface="EYInterstate"/>
              </a:rPr>
              <a:t>Key Items:</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b="1" dirty="0">
                <a:solidFill>
                  <a:schemeClr val="accent1"/>
                </a:solidFill>
              </a:rPr>
              <a:t>Hyperlink</a:t>
            </a:r>
            <a:r>
              <a:rPr lang="en-US" sz="1600" dirty="0"/>
              <a:t>s appear as light blue and will provide additional information or navigation.</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b="1" dirty="0">
                <a:solidFill>
                  <a:srgbClr val="FF0000"/>
                </a:solidFill>
                <a:latin typeface="EYInterstate"/>
              </a:rPr>
              <a:t>* Asterisks </a:t>
            </a:r>
            <a:r>
              <a:rPr lang="en-US" sz="1600" dirty="0">
                <a:latin typeface="EYInterstate"/>
              </a:rPr>
              <a:t>are used to denote required information.</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dirty="0">
                <a:latin typeface="EYInterstate"/>
              </a:rPr>
              <a:t>    A Toggle can be clicked to see selectable options.</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dirty="0">
                <a:latin typeface="EYInterstate"/>
              </a:rPr>
              <a:t>      A Pen can be clicked to make edits to the field.</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dirty="0">
                <a:latin typeface="EYInterstate"/>
              </a:rPr>
              <a:t>                    Navigation Buttons can be clicked on to progress to the “next” or the “previous” step in a task.</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dirty="0">
                <a:latin typeface="EYInterstate"/>
              </a:rPr>
              <a:t>             A Pause button can be clicked if you wish to step away / and return to your form later. You will be prompted to review your previously entered data upon your return/ login. </a:t>
            </a:r>
          </a:p>
          <a:p>
            <a:pPr marL="12065" marR="5080" defTabSz="457200">
              <a:lnSpc>
                <a:spcPct val="150000"/>
              </a:lnSpc>
              <a:spcBef>
                <a:spcPts val="100"/>
              </a:spcBef>
              <a:tabLst>
                <a:tab pos="241300" algn="l"/>
              </a:tabLst>
              <a:defRPr/>
            </a:pPr>
            <a:r>
              <a:rPr lang="en-US" sz="1600" b="1" dirty="0">
                <a:solidFill>
                  <a:srgbClr val="000000"/>
                </a:solidFill>
                <a:latin typeface="EYInterstate"/>
              </a:rPr>
              <a:t>Questions: </a:t>
            </a:r>
          </a:p>
          <a:p>
            <a:pPr marL="285750" indent="-285750" fontAlgn="base">
              <a:buFont typeface="Arial" panose="020B0604020202020204" pitchFamily="34" charset="0"/>
              <a:buChar char="•"/>
            </a:pPr>
            <a:r>
              <a:rPr lang="en-US" sz="1600" dirty="0"/>
              <a:t>For frequently asked questions and answers, visit </a:t>
            </a:r>
            <a:r>
              <a:rPr lang="en-US" sz="1600" u="sng" dirty="0"/>
              <a:t> </a:t>
            </a:r>
            <a:r>
              <a:rPr lang="en-US" sz="1600" dirty="0">
                <a:hlinkClick r:id="rId7"/>
              </a:rPr>
              <a:t>Knowledge Home - CVMS Vaccine Support (servicenowservices.com)</a:t>
            </a:r>
            <a:r>
              <a:rPr lang="en-US" sz="1600" dirty="0"/>
              <a:t>.</a:t>
            </a:r>
            <a:endParaRPr lang="en-US" sz="1600" b="1" dirty="0">
              <a:solidFill>
                <a:srgbClr val="000000"/>
              </a:solidFill>
              <a:latin typeface="EYInterstate"/>
            </a:endParaRPr>
          </a:p>
          <a:p>
            <a:pPr marL="12065" marR="5080" lvl="0" algn="l" defTabSz="457200" rtl="0" eaLnBrk="1" fontAlgn="auto" latinLnBrk="0" hangingPunct="1">
              <a:lnSpc>
                <a:spcPct val="150000"/>
              </a:lnSpc>
              <a:spcBef>
                <a:spcPts val="100"/>
              </a:spcBef>
              <a:spcAft>
                <a:spcPts val="0"/>
              </a:spcAft>
              <a:buClrTx/>
              <a:buSzTx/>
              <a:tabLst>
                <a:tab pos="241300" algn="l"/>
              </a:tabLst>
              <a:defRPr/>
            </a:pPr>
            <a:r>
              <a:rPr kumimoji="0" lang="en-US" sz="1600" b="1" i="0" u="none" strike="noStrike" kern="1200" cap="none" spc="0" normalizeH="0" baseline="0" noProof="0" dirty="0">
                <a:ln>
                  <a:noFill/>
                </a:ln>
                <a:solidFill>
                  <a:srgbClr val="000000"/>
                </a:solidFill>
                <a:effectLst/>
                <a:uLnTx/>
                <a:uFillTx/>
                <a:latin typeface="EYInterstate"/>
                <a:ea typeface="+mn-ea"/>
                <a:cs typeface="+mn-cs"/>
              </a:rPr>
              <a:t>Supported Web Browsers:</a:t>
            </a:r>
          </a:p>
          <a:p>
            <a:pPr marL="285750" indent="-285750">
              <a:buFont typeface="Arial" panose="020B0604020202020204" pitchFamily="34" charset="0"/>
              <a:buChar char="•"/>
            </a:pPr>
            <a:r>
              <a:rPr lang="en-US" sz="1600" dirty="0"/>
              <a:t>Please use the latest version of Chrome, Firefox, Safari, or Edge Chromium browsers to access CVMS.</a:t>
            </a:r>
          </a:p>
          <a:p>
            <a:pPr marL="285750" indent="-285750">
              <a:buFont typeface="Arial" panose="020B0604020202020204" pitchFamily="34" charset="0"/>
              <a:buChar char="•"/>
            </a:pPr>
            <a:r>
              <a:rPr lang="en-US" sz="1600" dirty="0"/>
              <a:t>For more information on supported browsers, see </a:t>
            </a:r>
            <a:r>
              <a:rPr lang="en-US" sz="1600" b="1" u="sng" dirty="0">
                <a:hlinkClick r:id="rId8"/>
              </a:rPr>
              <a:t>https://help.salesforce.com/articleView?id=getstart_browsers_sfx.htm&amp;type=5</a:t>
            </a:r>
            <a:endParaRPr lang="en-US" sz="1600" dirty="0"/>
          </a:p>
          <a:p>
            <a:pPr marL="285750" indent="-285750">
              <a:buFont typeface="Arial" panose="020B0604020202020204" pitchFamily="34" charset="0"/>
              <a:buChar char="•"/>
            </a:pPr>
            <a:r>
              <a:rPr lang="en-US" sz="1600" dirty="0"/>
              <a:t>Note: Internet Explorer and Edge (Non-Chromium) are not supported.</a:t>
            </a:r>
          </a:p>
          <a:p>
            <a:endParaRPr lang="en-US" sz="1600" dirty="0"/>
          </a:p>
        </p:txBody>
      </p:sp>
      <p:pic>
        <p:nvPicPr>
          <p:cNvPr id="97287" name="Picture 7">
            <a:extLst>
              <a:ext uri="{FF2B5EF4-FFF2-40B4-BE49-F238E27FC236}">
                <a16:creationId xmlns:a16="http://schemas.microsoft.com/office/drawing/2014/main" id="{CCCF4E5D-3184-49FC-9E62-CC09501B95B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8920" y="2097265"/>
            <a:ext cx="228600" cy="209550"/>
          </a:xfrm>
          <a:prstGeom prst="rect">
            <a:avLst/>
          </a:prstGeom>
          <a:noFill/>
          <a:extLst>
            <a:ext uri="{909E8E84-426E-40DD-AFC4-6F175D3DCCD1}">
              <a14:hiddenFill xmlns:a14="http://schemas.microsoft.com/office/drawing/2010/main">
                <a:solidFill>
                  <a:srgbClr val="FFFFFF"/>
                </a:solidFill>
              </a14:hiddenFill>
            </a:ext>
          </a:extLst>
        </p:spPr>
      </p:pic>
      <p:pic>
        <p:nvPicPr>
          <p:cNvPr id="97289" name="Picture 9">
            <a:extLst>
              <a:ext uri="{FF2B5EF4-FFF2-40B4-BE49-F238E27FC236}">
                <a16:creationId xmlns:a16="http://schemas.microsoft.com/office/drawing/2014/main" id="{95617E9A-A4AE-4218-AB53-3324D03B1BA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3097" y="2491779"/>
            <a:ext cx="2286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97291" name="Picture 11">
            <a:extLst>
              <a:ext uri="{FF2B5EF4-FFF2-40B4-BE49-F238E27FC236}">
                <a16:creationId xmlns:a16="http://schemas.microsoft.com/office/drawing/2014/main" id="{14DD0EEB-28CE-40DF-9939-E128F6EACBF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4618" y="2824711"/>
            <a:ext cx="995964" cy="268374"/>
          </a:xfrm>
          <a:prstGeom prst="rect">
            <a:avLst/>
          </a:prstGeom>
          <a:noFill/>
          <a:extLst>
            <a:ext uri="{909E8E84-426E-40DD-AFC4-6F175D3DCCD1}">
              <a14:hiddenFill xmlns:a14="http://schemas.microsoft.com/office/drawing/2010/main">
                <a:solidFill>
                  <a:srgbClr val="FFFFFF"/>
                </a:solidFill>
              </a14:hiddenFill>
            </a:ext>
          </a:extLst>
        </p:spPr>
      </p:pic>
      <p:pic>
        <p:nvPicPr>
          <p:cNvPr id="97293" name="Picture 13">
            <a:extLst>
              <a:ext uri="{FF2B5EF4-FFF2-40B4-BE49-F238E27FC236}">
                <a16:creationId xmlns:a16="http://schemas.microsoft.com/office/drawing/2014/main" id="{5EDB2E5A-8343-444C-BC13-7F05B70D5E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6619" y="3200175"/>
            <a:ext cx="550155" cy="275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17828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Request Type Information</a:t>
            </a:r>
          </a:p>
        </p:txBody>
      </p:sp>
      <p:cxnSp>
        <p:nvCxnSpPr>
          <p:cNvPr id="9" name="Straight Arrow Connector 8">
            <a:extLst>
              <a:ext uri="{FF2B5EF4-FFF2-40B4-BE49-F238E27FC236}">
                <a16:creationId xmlns:a16="http://schemas.microsoft.com/office/drawing/2014/main" id="{CE0EA485-49A3-4D08-AC46-48F0A11D58BA}"/>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6" name="object 4">
            <a:extLst>
              <a:ext uri="{FF2B5EF4-FFF2-40B4-BE49-F238E27FC236}">
                <a16:creationId xmlns:a16="http://schemas.microsoft.com/office/drawing/2014/main" id="{E841121C-0B87-45EF-9992-D117D47969D7}"/>
              </a:ext>
            </a:extLst>
          </p:cNvPr>
          <p:cNvSpPr txBox="1"/>
          <p:nvPr/>
        </p:nvSpPr>
        <p:spPr>
          <a:xfrm>
            <a:off x="407743" y="833500"/>
            <a:ext cx="11474771" cy="4691028"/>
          </a:xfrm>
          <a:prstGeom prst="rect">
            <a:avLst/>
          </a:prstGeom>
        </p:spPr>
        <p:txBody>
          <a:bodyPr vert="horz" wrap="square" lIns="0" tIns="12700" rIns="0" bIns="0" rtlCol="0" anchor="t">
            <a:spAutoFit/>
          </a:bodyPr>
          <a:lstStyle/>
          <a:p>
            <a:pPr fontAlgn="base"/>
            <a:r>
              <a:rPr lang="en-US" dirty="0">
                <a:latin typeface="EYInterstate" panose="02000503020000020004" pitchFamily="2" charset="0"/>
              </a:rPr>
              <a:t>Here is more detail about the Request Type drop-down menu items: </a:t>
            </a:r>
          </a:p>
          <a:p>
            <a:pPr fontAlgn="base"/>
            <a:endParaRPr lang="en-US" b="1" dirty="0">
              <a:latin typeface="EYInterstate" panose="02000503020000020004" pitchFamily="2" charset="0"/>
            </a:endParaRPr>
          </a:p>
          <a:p>
            <a:pPr fontAlgn="base"/>
            <a:r>
              <a:rPr lang="en-US" b="1" dirty="0">
                <a:latin typeface="EYInterstate" panose="02000503020000020004" pitchFamily="2" charset="0"/>
              </a:rPr>
              <a:t>CVMS Access or Login Issue</a:t>
            </a:r>
            <a:r>
              <a:rPr lang="en-US" dirty="0">
                <a:latin typeface="EYInterstate" panose="02000503020000020004" pitchFamily="2" charset="0"/>
              </a:rPr>
              <a:t>: Use if you are unable to log in to CVMS due to forgotten username, password, linked email address, etc., or for other access issues. </a:t>
            </a:r>
          </a:p>
          <a:p>
            <a:pPr fontAlgn="base"/>
            <a:endParaRPr lang="en-US" b="1" dirty="0">
              <a:latin typeface="EYInterstate" panose="02000503020000020004" pitchFamily="2" charset="0"/>
            </a:endParaRPr>
          </a:p>
          <a:p>
            <a:pPr fontAlgn="base"/>
            <a:r>
              <a:rPr lang="en-US" b="1" dirty="0">
                <a:latin typeface="EYInterstate" panose="02000503020000020004" pitchFamily="2" charset="0"/>
              </a:rPr>
              <a:t>CVMS Non-Access Related Issues</a:t>
            </a:r>
            <a:r>
              <a:rPr lang="en-US" dirty="0">
                <a:latin typeface="EYInterstate" panose="02000503020000020004" pitchFamily="2" charset="0"/>
              </a:rPr>
              <a:t>: Use if you are facing a CVMS issue beyond not being able to login/access CVMS. </a:t>
            </a:r>
          </a:p>
          <a:p>
            <a:pPr fontAlgn="base"/>
            <a:endParaRPr lang="en-US" b="1" dirty="0">
              <a:latin typeface="EYInterstate" panose="02000503020000020004" pitchFamily="2" charset="0"/>
            </a:endParaRPr>
          </a:p>
          <a:p>
            <a:pPr fontAlgn="base"/>
            <a:r>
              <a:rPr lang="en-US" b="1" dirty="0">
                <a:latin typeface="EYInterstate" panose="02000503020000020004" pitchFamily="2" charset="0"/>
              </a:rPr>
              <a:t>Clinical Inquiry</a:t>
            </a:r>
            <a:r>
              <a:rPr lang="en-US" dirty="0">
                <a:latin typeface="EYInterstate" panose="02000503020000020004" pitchFamily="2" charset="0"/>
              </a:rPr>
              <a:t>: Use if you have a request regarding vaccine administration, side effects, or other question to be answered by a trained clinician. </a:t>
            </a:r>
          </a:p>
          <a:p>
            <a:pPr fontAlgn="base"/>
            <a:endParaRPr lang="en-US" b="1" dirty="0">
              <a:latin typeface="EYInterstate" panose="02000503020000020004" pitchFamily="2" charset="0"/>
            </a:endParaRPr>
          </a:p>
          <a:p>
            <a:pPr fontAlgn="base"/>
            <a:r>
              <a:rPr lang="en-US" b="1" dirty="0">
                <a:latin typeface="EYInterstate" panose="02000503020000020004" pitchFamily="2" charset="0"/>
              </a:rPr>
              <a:t>Request CVMS Data Correction (Recipient, Dosage, Lot #, Inventory)</a:t>
            </a:r>
            <a:r>
              <a:rPr lang="en-US" dirty="0">
                <a:latin typeface="EYInterstate" panose="02000503020000020004" pitchFamily="2" charset="0"/>
              </a:rPr>
              <a:t>: Use if some element within your CVMS account is incorrect and needs to be updated. </a:t>
            </a:r>
          </a:p>
          <a:p>
            <a:pPr fontAlgn="base"/>
            <a:endParaRPr lang="en-US" b="1" dirty="0">
              <a:latin typeface="EYInterstate" panose="02000503020000020004" pitchFamily="2" charset="0"/>
            </a:endParaRPr>
          </a:p>
          <a:p>
            <a:pPr fontAlgn="base"/>
            <a:r>
              <a:rPr lang="en-US" b="1" dirty="0">
                <a:latin typeface="EYInterstate" panose="02000503020000020004" pitchFamily="2" charset="0"/>
              </a:rPr>
              <a:t>Request Proof of Vaccination (COVID-19)</a:t>
            </a:r>
            <a:r>
              <a:rPr lang="en-US" dirty="0">
                <a:latin typeface="EYInterstate" panose="02000503020000020004" pitchFamily="2" charset="0"/>
              </a:rPr>
              <a:t>: Use if you would like to request proof that you have received a COVID-19 vaccine. </a:t>
            </a:r>
          </a:p>
          <a:p>
            <a:endParaRPr lang="en-US" sz="1600" dirty="0"/>
          </a:p>
        </p:txBody>
      </p:sp>
    </p:spTree>
    <p:extLst>
      <p:ext uri="{BB962C8B-B14F-4D97-AF65-F5344CB8AC3E}">
        <p14:creationId xmlns:p14="http://schemas.microsoft.com/office/powerpoint/2010/main" val="4202852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349184" y="-5158"/>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panose="02000503020000020004" pitchFamily="2" charset="0"/>
                <a:cs typeface="Arial" panose="020B0604020202020204" pitchFamily="34" charset="0"/>
              </a:rPr>
              <a:t>Table of Contents</a:t>
            </a:r>
          </a:p>
        </p:txBody>
      </p:sp>
      <p:cxnSp>
        <p:nvCxnSpPr>
          <p:cNvPr id="9" name="Straight Arrow Connector 8">
            <a:extLst>
              <a:ext uri="{FF2B5EF4-FFF2-40B4-BE49-F238E27FC236}">
                <a16:creationId xmlns:a16="http://schemas.microsoft.com/office/drawing/2014/main" id="{CE0EA485-49A3-4D08-AC46-48F0A11D58BA}"/>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graphicFrame>
        <p:nvGraphicFramePr>
          <p:cNvPr id="6" name="Table 5">
            <a:extLst>
              <a:ext uri="{FF2B5EF4-FFF2-40B4-BE49-F238E27FC236}">
                <a16:creationId xmlns:a16="http://schemas.microsoft.com/office/drawing/2014/main" id="{78B1BD31-3AF9-4B81-93FC-7241460106EA}"/>
              </a:ext>
            </a:extLst>
          </p:cNvPr>
          <p:cNvGraphicFramePr>
            <a:graphicFrameLocks noGrp="1"/>
          </p:cNvGraphicFramePr>
          <p:nvPr>
            <p:extLst>
              <p:ext uri="{D42A27DB-BD31-4B8C-83A1-F6EECF244321}">
                <p14:modId xmlns:p14="http://schemas.microsoft.com/office/powerpoint/2010/main" val="2962990627"/>
              </p:ext>
            </p:extLst>
          </p:nvPr>
        </p:nvGraphicFramePr>
        <p:xfrm>
          <a:off x="406400" y="2134161"/>
          <a:ext cx="11379200" cy="1487361"/>
        </p:xfrm>
        <a:graphic>
          <a:graphicData uri="http://schemas.openxmlformats.org/drawingml/2006/table">
            <a:tbl>
              <a:tblPr firstRow="1" bandRow="1"/>
              <a:tblGrid>
                <a:gridCol w="924560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tblGrid>
              <a:tr h="251947">
                <a:tc>
                  <a:txBody>
                    <a:bodyPr/>
                    <a:lstStyle>
                      <a:lvl1pPr marL="0" algn="l" defTabSz="913943" rtl="0" eaLnBrk="1" latinLnBrk="0" hangingPunct="1">
                        <a:defRPr sz="1799" b="1" kern="1200">
                          <a:solidFill>
                            <a:schemeClr val="bg1"/>
                          </a:solidFill>
                          <a:latin typeface="Arial"/>
                        </a:defRPr>
                      </a:lvl1pPr>
                      <a:lvl2pPr marL="456971" algn="l" defTabSz="913943" rtl="0" eaLnBrk="1" latinLnBrk="0" hangingPunct="1">
                        <a:defRPr sz="1799" b="1" kern="1200">
                          <a:solidFill>
                            <a:schemeClr val="bg1"/>
                          </a:solidFill>
                          <a:latin typeface="Arial"/>
                        </a:defRPr>
                      </a:lvl2pPr>
                      <a:lvl3pPr marL="913943" algn="l" defTabSz="913943" rtl="0" eaLnBrk="1" latinLnBrk="0" hangingPunct="1">
                        <a:defRPr sz="1799" b="1" kern="1200">
                          <a:solidFill>
                            <a:schemeClr val="bg1"/>
                          </a:solidFill>
                          <a:latin typeface="Arial"/>
                        </a:defRPr>
                      </a:lvl3pPr>
                      <a:lvl4pPr marL="1370914" algn="l" defTabSz="913943" rtl="0" eaLnBrk="1" latinLnBrk="0" hangingPunct="1">
                        <a:defRPr sz="1799" b="1" kern="1200">
                          <a:solidFill>
                            <a:schemeClr val="bg1"/>
                          </a:solidFill>
                          <a:latin typeface="Arial"/>
                        </a:defRPr>
                      </a:lvl4pPr>
                      <a:lvl5pPr marL="1827886" algn="l" defTabSz="913943" rtl="0" eaLnBrk="1" latinLnBrk="0" hangingPunct="1">
                        <a:defRPr sz="1799" b="1" kern="1200">
                          <a:solidFill>
                            <a:schemeClr val="bg1"/>
                          </a:solidFill>
                          <a:latin typeface="Arial"/>
                        </a:defRPr>
                      </a:lvl5pPr>
                      <a:lvl6pPr marL="2284857" algn="l" defTabSz="913943" rtl="0" eaLnBrk="1" latinLnBrk="0" hangingPunct="1">
                        <a:defRPr sz="1799" b="1" kern="1200">
                          <a:solidFill>
                            <a:schemeClr val="bg1"/>
                          </a:solidFill>
                          <a:latin typeface="Arial"/>
                        </a:defRPr>
                      </a:lvl6pPr>
                      <a:lvl7pPr marL="2741828" algn="l" defTabSz="913943" rtl="0" eaLnBrk="1" latinLnBrk="0" hangingPunct="1">
                        <a:defRPr sz="1799" b="1" kern="1200">
                          <a:solidFill>
                            <a:schemeClr val="bg1"/>
                          </a:solidFill>
                          <a:latin typeface="Arial"/>
                        </a:defRPr>
                      </a:lvl7pPr>
                      <a:lvl8pPr marL="3198800" algn="l" defTabSz="913943" rtl="0" eaLnBrk="1" latinLnBrk="0" hangingPunct="1">
                        <a:defRPr sz="1799" b="1" kern="1200">
                          <a:solidFill>
                            <a:schemeClr val="bg1"/>
                          </a:solidFill>
                          <a:latin typeface="Arial"/>
                        </a:defRPr>
                      </a:lvl8pPr>
                      <a:lvl9pPr marL="3655771" algn="l" defTabSz="913943" rtl="0" eaLnBrk="1" latinLnBrk="0" hangingPunct="1">
                        <a:defRPr sz="1799" b="1" kern="1200">
                          <a:solidFill>
                            <a:schemeClr val="bg1"/>
                          </a:solidFill>
                          <a:latin typeface="Arial"/>
                        </a:defRPr>
                      </a:lvl9pPr>
                    </a:lstStyle>
                    <a:p>
                      <a:pPr marL="0" algn="l" defTabSz="457200" rtl="0" eaLnBrk="1" latinLnBrk="0" hangingPunct="1"/>
                      <a:r>
                        <a:rPr lang="en-US" sz="1600" b="1" kern="1200" dirty="0">
                          <a:solidFill>
                            <a:schemeClr val="bg1"/>
                          </a:solidFill>
                          <a:latin typeface="EYInterstate"/>
                          <a:ea typeface="+mn-ea"/>
                          <a:cs typeface="+mn-cs"/>
                        </a:rPr>
                        <a:t>CVMS Help Desk Portal Ticket Journey</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b="1" kern="1200">
                          <a:solidFill>
                            <a:schemeClr val="bg1"/>
                          </a:solidFill>
                          <a:latin typeface="Arial"/>
                        </a:defRPr>
                      </a:lvl1pPr>
                      <a:lvl2pPr marL="456971" algn="l" defTabSz="913943" rtl="0" eaLnBrk="1" latinLnBrk="0" hangingPunct="1">
                        <a:defRPr sz="1799" b="1" kern="1200">
                          <a:solidFill>
                            <a:schemeClr val="bg1"/>
                          </a:solidFill>
                          <a:latin typeface="Arial"/>
                        </a:defRPr>
                      </a:lvl2pPr>
                      <a:lvl3pPr marL="913943" algn="l" defTabSz="913943" rtl="0" eaLnBrk="1" latinLnBrk="0" hangingPunct="1">
                        <a:defRPr sz="1799" b="1" kern="1200">
                          <a:solidFill>
                            <a:schemeClr val="bg1"/>
                          </a:solidFill>
                          <a:latin typeface="Arial"/>
                        </a:defRPr>
                      </a:lvl3pPr>
                      <a:lvl4pPr marL="1370914" algn="l" defTabSz="913943" rtl="0" eaLnBrk="1" latinLnBrk="0" hangingPunct="1">
                        <a:defRPr sz="1799" b="1" kern="1200">
                          <a:solidFill>
                            <a:schemeClr val="bg1"/>
                          </a:solidFill>
                          <a:latin typeface="Arial"/>
                        </a:defRPr>
                      </a:lvl4pPr>
                      <a:lvl5pPr marL="1827886" algn="l" defTabSz="913943" rtl="0" eaLnBrk="1" latinLnBrk="0" hangingPunct="1">
                        <a:defRPr sz="1799" b="1" kern="1200">
                          <a:solidFill>
                            <a:schemeClr val="bg1"/>
                          </a:solidFill>
                          <a:latin typeface="Arial"/>
                        </a:defRPr>
                      </a:lvl5pPr>
                      <a:lvl6pPr marL="2284857" algn="l" defTabSz="913943" rtl="0" eaLnBrk="1" latinLnBrk="0" hangingPunct="1">
                        <a:defRPr sz="1799" b="1" kern="1200">
                          <a:solidFill>
                            <a:schemeClr val="bg1"/>
                          </a:solidFill>
                          <a:latin typeface="Arial"/>
                        </a:defRPr>
                      </a:lvl6pPr>
                      <a:lvl7pPr marL="2741828" algn="l" defTabSz="913943" rtl="0" eaLnBrk="1" latinLnBrk="0" hangingPunct="1">
                        <a:defRPr sz="1799" b="1" kern="1200">
                          <a:solidFill>
                            <a:schemeClr val="bg1"/>
                          </a:solidFill>
                          <a:latin typeface="Arial"/>
                        </a:defRPr>
                      </a:lvl7pPr>
                      <a:lvl8pPr marL="3198800" algn="l" defTabSz="913943" rtl="0" eaLnBrk="1" latinLnBrk="0" hangingPunct="1">
                        <a:defRPr sz="1799" b="1" kern="1200">
                          <a:solidFill>
                            <a:schemeClr val="bg1"/>
                          </a:solidFill>
                          <a:latin typeface="Arial"/>
                        </a:defRPr>
                      </a:lvl8pPr>
                      <a:lvl9pPr marL="3655771" algn="l" defTabSz="913943" rtl="0" eaLnBrk="1" latinLnBrk="0" hangingPunct="1">
                        <a:defRPr sz="1799" b="1" kern="1200">
                          <a:solidFill>
                            <a:schemeClr val="bg1"/>
                          </a:solidFill>
                          <a:latin typeface="Arial"/>
                        </a:defRPr>
                      </a:lvl9pPr>
                    </a:lstStyle>
                    <a:p>
                      <a:pPr lvl="1" algn="r"/>
                      <a:r>
                        <a:rPr lang="en-US" sz="1600" b="1" kern="1200" dirty="0">
                          <a:solidFill>
                            <a:schemeClr val="bg1"/>
                          </a:solidFill>
                          <a:latin typeface="EYInterstate"/>
                          <a:ea typeface="+mn-ea"/>
                          <a:cs typeface="+mn-cs"/>
                        </a:rPr>
                        <a:t>3 – 4</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00"/>
                  </a:ext>
                </a:extLst>
              </a:tr>
              <a:tr h="229043">
                <a:tc>
                  <a:txBody>
                    <a:bodyPr/>
                    <a:lstStyle/>
                    <a:p>
                      <a:pPr marL="0" indent="0" algn="l" defTabSz="457200" rtl="0" eaLnBrk="1" latinLnBrk="0" hangingPunct="1">
                        <a:buFont typeface="Arial" panose="020B0604020202020204" pitchFamily="34" charset="0"/>
                        <a:buNone/>
                      </a:pPr>
                      <a:endParaRPr lang="en-US" sz="1600" b="0" kern="1200" dirty="0">
                        <a:solidFill>
                          <a:schemeClr val="tx1"/>
                        </a:solidFill>
                        <a:latin typeface="EYInterstate"/>
                        <a:ea typeface="+mn-ea"/>
                        <a:cs typeface="+mn-cs"/>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lvl="1" algn="r"/>
                      <a:endParaRPr lang="en-US" sz="1600" b="0" dirty="0">
                        <a:solidFill>
                          <a:schemeClr val="tx1">
                            <a:lumMod val="65000"/>
                            <a:lumOff val="35000"/>
                          </a:schemeClr>
                        </a:solidFill>
                        <a:latin typeface="EYInterstate" panose="02000503020000020004" pitchFamily="2" charset="0"/>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409515071"/>
                  </a:ext>
                </a:extLst>
              </a:tr>
              <a:tr h="229043">
                <a:tc>
                  <a:txBody>
                    <a:bodyPr/>
                    <a:lstStyle/>
                    <a:p>
                      <a:pPr marL="0" marR="0" lvl="0" indent="0" algn="l" defTabSz="91394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chemeClr val="bg1"/>
                          </a:solidFill>
                          <a:latin typeface="EYInterstate"/>
                          <a:ea typeface="+mn-ea"/>
                          <a:cs typeface="+mn-cs"/>
                        </a:rPr>
                        <a:t>Submit a Ticket in the CVMS Help Desk Portal</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p>
                      <a:pPr marL="0" lvl="1" algn="r" rtl="0" eaLnBrk="1" latinLnBrk="0" hangingPunct="1"/>
                      <a:r>
                        <a:rPr lang="en-US" sz="1600" b="1" kern="1200" dirty="0">
                          <a:solidFill>
                            <a:schemeClr val="bg1"/>
                          </a:solidFill>
                          <a:latin typeface="EYInterstate"/>
                          <a:ea typeface="+mn-ea"/>
                          <a:cs typeface="+mn-cs"/>
                        </a:rPr>
                        <a:t>5 – 12</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3188928256"/>
                  </a:ext>
                </a:extLst>
              </a:tr>
              <a:tr h="229043">
                <a:tc>
                  <a:txBody>
                    <a:bodyPr/>
                    <a:lstStyle/>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latin typeface="EYInterstate"/>
                        <a:cs typeface="Calibri"/>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457200" lvl="1" algn="r" defTabSz="457200" rtl="0" eaLnBrk="1" latinLnBrk="0" hangingPunct="1"/>
                      <a:endParaRPr lang="en-US" sz="1600" b="0" kern="1200" dirty="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992764270"/>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r>
                        <a:rPr lang="en-US" sz="1600" b="1" baseline="0" dirty="0">
                          <a:solidFill>
                            <a:schemeClr val="bg1"/>
                          </a:solidFill>
                          <a:latin typeface="EYInterstate"/>
                        </a:rPr>
                        <a:t>Appendix</a:t>
                      </a:r>
                    </a:p>
                  </a:txBody>
                  <a:tcPr marL="121920" marR="121920" marT="0" marB="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rtl="0" eaLnBrk="1" latinLnBrk="0" hangingPunct="1"/>
                      <a:r>
                        <a:rPr lang="en-US" sz="1600" b="1" kern="1200" dirty="0">
                          <a:solidFill>
                            <a:schemeClr val="bg1"/>
                          </a:solidFill>
                          <a:latin typeface="EYInterstate"/>
                          <a:ea typeface="+mn-ea"/>
                          <a:cs typeface="+mn-cs"/>
                        </a:rPr>
                        <a:t>13 – 15</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16"/>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0" indent="0">
                        <a:buFont typeface="Arial" panose="020B0604020202020204" pitchFamily="34" charset="0"/>
                        <a:buNone/>
                      </a:pPr>
                      <a:endParaRPr lang="en-US" sz="1200" b="0" dirty="0">
                        <a:latin typeface="EYInterstate"/>
                      </a:endParaRPr>
                    </a:p>
                  </a:txBody>
                  <a:tcPr marL="121920" marR="121920" marT="0" marB="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endParaRPr lang="en-US" sz="1100" b="0" kern="1200" dirty="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bl>
          </a:graphicData>
        </a:graphic>
      </p:graphicFrame>
      <p:sp>
        <p:nvSpPr>
          <p:cNvPr id="11" name="TextBox 10">
            <a:extLst>
              <a:ext uri="{FF2B5EF4-FFF2-40B4-BE49-F238E27FC236}">
                <a16:creationId xmlns:a16="http://schemas.microsoft.com/office/drawing/2014/main" id="{8C71F15F-1DBD-450C-878F-91B44D00C7A3}"/>
              </a:ext>
            </a:extLst>
          </p:cNvPr>
          <p:cNvSpPr txBox="1"/>
          <p:nvPr/>
        </p:nvSpPr>
        <p:spPr>
          <a:xfrm>
            <a:off x="11037456" y="1804903"/>
            <a:ext cx="786500" cy="369332"/>
          </a:xfrm>
          <a:prstGeom prst="rect">
            <a:avLst/>
          </a:prstGeom>
        </p:spPr>
        <p:txBody>
          <a:bodyPr vert="horz" wrap="square" lIns="121920" tIns="60960" rIns="121920" bIns="6096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rPr>
              <a:t>Pages</a:t>
            </a:r>
          </a:p>
        </p:txBody>
      </p:sp>
    </p:spTree>
    <p:extLst>
      <p:ext uri="{BB962C8B-B14F-4D97-AF65-F5344CB8AC3E}">
        <p14:creationId xmlns:p14="http://schemas.microsoft.com/office/powerpoint/2010/main" val="3123279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7449540" cy="646331"/>
          </a:xfrm>
          <a:prstGeom prst="rect">
            <a:avLst/>
          </a:prstGeom>
          <a:noFill/>
        </p:spPr>
        <p:txBody>
          <a:bodyPr wrap="none" rtlCol="0">
            <a:spAutoFit/>
          </a:bodyPr>
          <a:lstStyle/>
          <a:p>
            <a:pPr lvl="0">
              <a:defRPr/>
            </a:pPr>
            <a:r>
              <a:rPr lang="en-US" sz="3600" b="1" dirty="0">
                <a:solidFill>
                  <a:prstClr val="white"/>
                </a:solidFill>
                <a:latin typeface="EYInterstate" panose="02000503020000020004" pitchFamily="2" charset="0"/>
              </a:rPr>
              <a:t>CVMS Help Desk Portal Ticket Journey</a:t>
            </a:r>
            <a:endParaRPr lang="en-US" sz="2400" b="1" dirty="0">
              <a:solidFill>
                <a:prstClr val="white"/>
              </a:solidFill>
              <a:latin typeface="EYInterstate" panose="02000503020000020004" pitchFamily="2" charset="0"/>
            </a:endParaRPr>
          </a:p>
        </p:txBody>
      </p:sp>
    </p:spTree>
    <p:extLst>
      <p:ext uri="{BB962C8B-B14F-4D97-AF65-F5344CB8AC3E}">
        <p14:creationId xmlns:p14="http://schemas.microsoft.com/office/powerpoint/2010/main" val="9462665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1">
            <a:extLst>
              <a:ext uri="{FF2B5EF4-FFF2-40B4-BE49-F238E27FC236}">
                <a16:creationId xmlns:a16="http://schemas.microsoft.com/office/drawing/2014/main" id="{6BEA930D-A79D-48B7-8C36-233F22E7D2AC}"/>
              </a:ext>
            </a:extLst>
          </p:cNvPr>
          <p:cNvSpPr txBox="1">
            <a:spLocks/>
          </p:cNvSpPr>
          <p:nvPr/>
        </p:nvSpPr>
        <p:spPr>
          <a:xfrm>
            <a:off x="297157" y="42753"/>
            <a:ext cx="11718897" cy="10477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000" b="1" dirty="0">
                <a:solidFill>
                  <a:schemeClr val="tx1"/>
                </a:solidFill>
                <a:latin typeface="EYInterstate" panose="02000503020000020004" pitchFamily="2" charset="0"/>
                <a:cs typeface="Calibri"/>
              </a:rPr>
              <a:t>CVMS Help Desk Portal Ticket Submission Journey and Timeline</a:t>
            </a:r>
          </a:p>
          <a:p>
            <a:r>
              <a:rPr lang="en-US" sz="1400" i="1" dirty="0">
                <a:solidFill>
                  <a:schemeClr val="tx1"/>
                </a:solidFill>
                <a:latin typeface="EYInterstate" panose="02000503020000020004" pitchFamily="2" charset="0"/>
                <a:cs typeface="Calibri"/>
              </a:rPr>
              <a:t>What happens when you submit a ticket and how long until you receive a response?</a:t>
            </a:r>
          </a:p>
        </p:txBody>
      </p:sp>
      <p:cxnSp>
        <p:nvCxnSpPr>
          <p:cNvPr id="6" name="Straight Arrow Connector 5">
            <a:extLst>
              <a:ext uri="{FF2B5EF4-FFF2-40B4-BE49-F238E27FC236}">
                <a16:creationId xmlns:a16="http://schemas.microsoft.com/office/drawing/2014/main" id="{BD310EBA-D9DD-4780-90C1-2FAE303E0861}"/>
              </a:ext>
            </a:extLst>
          </p:cNvPr>
          <p:cNvCxnSpPr>
            <a:cxnSpLocks/>
          </p:cNvCxnSpPr>
          <p:nvPr/>
        </p:nvCxnSpPr>
        <p:spPr>
          <a:xfrm flipV="1">
            <a:off x="349183" y="1019036"/>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116" name="Rectangle 115">
            <a:extLst>
              <a:ext uri="{FF2B5EF4-FFF2-40B4-BE49-F238E27FC236}">
                <a16:creationId xmlns:a16="http://schemas.microsoft.com/office/drawing/2014/main" id="{31E0B6F1-485A-4C22-8B1B-4BD6357662A2}"/>
              </a:ext>
            </a:extLst>
          </p:cNvPr>
          <p:cNvSpPr/>
          <p:nvPr/>
        </p:nvSpPr>
        <p:spPr>
          <a:xfrm>
            <a:off x="6444218" y="2768438"/>
            <a:ext cx="1737360" cy="1092607"/>
          </a:xfrm>
          <a:prstGeom prst="rect">
            <a:avLst/>
          </a:prstGeom>
          <a:noFill/>
        </p:spPr>
        <p:txBody>
          <a:bodyPr wrap="square" lIns="0" tIns="45720" rIns="0" bIns="45720" rtlCol="0" anchor="t">
            <a:spAutoFit/>
          </a:bodyPr>
          <a:lstStyle/>
          <a:p>
            <a:pPr marL="12065" marR="5080" defTabSz="457200">
              <a:spcAft>
                <a:spcPts val="600"/>
              </a:spcAft>
              <a:tabLst>
                <a:tab pos="241300" algn="l"/>
              </a:tabLst>
              <a:defRPr/>
            </a:pPr>
            <a:endParaRPr lang="en-US" sz="1000" dirty="0">
              <a:solidFill>
                <a:srgbClr val="000000"/>
              </a:solidFill>
              <a:latin typeface="EYInterstate"/>
            </a:endParaRPr>
          </a:p>
          <a:p>
            <a:pPr defTabSz="914400">
              <a:defRPr/>
            </a:pPr>
            <a:endParaRPr lang="en-US" sz="1000" dirty="0">
              <a:solidFill>
                <a:prstClr val="black"/>
              </a:solidFill>
              <a:latin typeface="EYInterstate" panose="02000503020000020004" pitchFamily="2" charset="0"/>
            </a:endParaRPr>
          </a:p>
          <a:p>
            <a:pPr defTabSz="914400">
              <a:defRPr/>
            </a:pPr>
            <a:r>
              <a:rPr lang="en-US" sz="1000" dirty="0">
                <a:solidFill>
                  <a:prstClr val="black"/>
                </a:solidFill>
                <a:latin typeface="EYInterstate" panose="02000503020000020004" pitchFamily="2" charset="0"/>
              </a:rPr>
              <a:t> </a:t>
            </a:r>
          </a:p>
          <a:p>
            <a:pPr defTabSz="914400">
              <a:defRPr/>
            </a:pPr>
            <a:endParaRPr lang="en-US" sz="1000" dirty="0">
              <a:solidFill>
                <a:prstClr val="black"/>
              </a:solidFill>
              <a:latin typeface="EYInterstate" panose="02000503020000020004" pitchFamily="2" charset="0"/>
            </a:endParaRPr>
          </a:p>
          <a:p>
            <a:pPr defTabSz="914400">
              <a:defRPr/>
            </a:pPr>
            <a:endParaRPr lang="en-US" sz="1000" dirty="0">
              <a:solidFill>
                <a:prstClr val="black"/>
              </a:solidFill>
              <a:latin typeface="EYInterstate" panose="02000503020000020004" pitchFamily="2" charset="0"/>
            </a:endParaRPr>
          </a:p>
          <a:p>
            <a:pPr defTabSz="914400">
              <a:defRPr/>
            </a:pPr>
            <a:endParaRPr lang="en-US" sz="1000" dirty="0">
              <a:solidFill>
                <a:prstClr val="black"/>
              </a:solidFill>
              <a:latin typeface="EYInterstate" panose="02000503020000020004" pitchFamily="2" charset="0"/>
            </a:endParaRPr>
          </a:p>
        </p:txBody>
      </p:sp>
      <p:sp>
        <p:nvSpPr>
          <p:cNvPr id="117" name="Right Arrow 31">
            <a:extLst>
              <a:ext uri="{FF2B5EF4-FFF2-40B4-BE49-F238E27FC236}">
                <a16:creationId xmlns:a16="http://schemas.microsoft.com/office/drawing/2014/main" id="{9E59BA74-96F8-4AF2-88F8-386D2A84DF11}"/>
              </a:ext>
            </a:extLst>
          </p:cNvPr>
          <p:cNvSpPr/>
          <p:nvPr/>
        </p:nvSpPr>
        <p:spPr>
          <a:xfrm>
            <a:off x="1025859" y="2432131"/>
            <a:ext cx="9666579" cy="256317"/>
          </a:xfrm>
          <a:prstGeom prst="rightArrow">
            <a:avLst/>
          </a:prstGeom>
          <a:solidFill>
            <a:srgbClr val="BDD7EE"/>
          </a:solidFill>
          <a:ln>
            <a:solidFill>
              <a:srgbClr val="4472C4"/>
            </a:solidFill>
          </a:ln>
        </p:spPr>
        <p:txBody>
          <a:bodyPr rtlCol="0" anchor="ctr">
            <a:noAutofit/>
          </a:bodyPr>
          <a:lstStyle/>
          <a:p>
            <a:pPr marL="182880" indent="-182880" algn="ctr" defTabSz="914400">
              <a:buClr>
                <a:srgbClr val="FFFFFF"/>
              </a:buClr>
              <a:buFont typeface="Arial" charset="0"/>
              <a:buChar char="•"/>
            </a:pPr>
            <a:endParaRPr lang="en-US" sz="2000" kern="0" dirty="0">
              <a:solidFill>
                <a:srgbClr val="FFFFFF"/>
              </a:solidFill>
              <a:latin typeface="+mj-lt"/>
            </a:endParaRPr>
          </a:p>
        </p:txBody>
      </p:sp>
      <p:sp>
        <p:nvSpPr>
          <p:cNvPr id="118" name="Oval 117">
            <a:extLst>
              <a:ext uri="{FF2B5EF4-FFF2-40B4-BE49-F238E27FC236}">
                <a16:creationId xmlns:a16="http://schemas.microsoft.com/office/drawing/2014/main" id="{44898254-BB30-4468-8DA7-24C0E71FBE56}"/>
              </a:ext>
            </a:extLst>
          </p:cNvPr>
          <p:cNvSpPr/>
          <p:nvPr/>
        </p:nvSpPr>
        <p:spPr>
          <a:xfrm>
            <a:off x="7088684" y="2425599"/>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dirty="0">
                <a:solidFill>
                  <a:srgbClr val="FFFFFF"/>
                </a:solidFill>
                <a:latin typeface="+mj-lt"/>
              </a:rPr>
              <a:t>3</a:t>
            </a:r>
          </a:p>
        </p:txBody>
      </p:sp>
      <p:sp>
        <p:nvSpPr>
          <p:cNvPr id="119" name="Oval 118">
            <a:extLst>
              <a:ext uri="{FF2B5EF4-FFF2-40B4-BE49-F238E27FC236}">
                <a16:creationId xmlns:a16="http://schemas.microsoft.com/office/drawing/2014/main" id="{9E2B3B37-EB3A-4BD1-A5AA-9B19DEB69F68}"/>
              </a:ext>
            </a:extLst>
          </p:cNvPr>
          <p:cNvSpPr/>
          <p:nvPr/>
        </p:nvSpPr>
        <p:spPr>
          <a:xfrm>
            <a:off x="1721604" y="2425599"/>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dirty="0">
                <a:solidFill>
                  <a:srgbClr val="FFFFFF"/>
                </a:solidFill>
                <a:latin typeface="+mj-lt"/>
              </a:rPr>
              <a:t>1</a:t>
            </a:r>
          </a:p>
        </p:txBody>
      </p:sp>
      <p:sp>
        <p:nvSpPr>
          <p:cNvPr id="120" name="Oval 119">
            <a:extLst>
              <a:ext uri="{FF2B5EF4-FFF2-40B4-BE49-F238E27FC236}">
                <a16:creationId xmlns:a16="http://schemas.microsoft.com/office/drawing/2014/main" id="{89FA9D56-DA4B-4C56-9242-E3FDEF5A24FA}"/>
              </a:ext>
            </a:extLst>
          </p:cNvPr>
          <p:cNvSpPr/>
          <p:nvPr/>
        </p:nvSpPr>
        <p:spPr>
          <a:xfrm>
            <a:off x="4405144" y="2432131"/>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dirty="0">
                <a:solidFill>
                  <a:srgbClr val="FFFFFF"/>
                </a:solidFill>
                <a:latin typeface="+mj-lt"/>
              </a:rPr>
              <a:t>2</a:t>
            </a:r>
          </a:p>
        </p:txBody>
      </p:sp>
      <p:sp>
        <p:nvSpPr>
          <p:cNvPr id="122" name="Oval 121">
            <a:extLst>
              <a:ext uri="{FF2B5EF4-FFF2-40B4-BE49-F238E27FC236}">
                <a16:creationId xmlns:a16="http://schemas.microsoft.com/office/drawing/2014/main" id="{42DBCD26-26AE-4422-831C-44EA9FAEE12E}"/>
              </a:ext>
            </a:extLst>
          </p:cNvPr>
          <p:cNvSpPr/>
          <p:nvPr/>
        </p:nvSpPr>
        <p:spPr>
          <a:xfrm>
            <a:off x="9772224" y="2423129"/>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dirty="0">
                <a:solidFill>
                  <a:srgbClr val="FFFFFF"/>
                </a:solidFill>
                <a:latin typeface="+mj-lt"/>
              </a:rPr>
              <a:t>4</a:t>
            </a:r>
          </a:p>
        </p:txBody>
      </p:sp>
      <p:cxnSp>
        <p:nvCxnSpPr>
          <p:cNvPr id="123" name="Straight Arrow Connector 122">
            <a:extLst>
              <a:ext uri="{FF2B5EF4-FFF2-40B4-BE49-F238E27FC236}">
                <a16:creationId xmlns:a16="http://schemas.microsoft.com/office/drawing/2014/main" id="{886D0E46-1718-4AD2-9879-A5C4693996EE}"/>
              </a:ext>
            </a:extLst>
          </p:cNvPr>
          <p:cNvCxnSpPr/>
          <p:nvPr/>
        </p:nvCxnSpPr>
        <p:spPr>
          <a:xfrm>
            <a:off x="3117079" y="1993290"/>
            <a:ext cx="182880" cy="1"/>
          </a:xfrm>
          <a:prstGeom prst="straightConnector1">
            <a:avLst/>
          </a:prstGeom>
          <a:noFill/>
          <a:ln w="6350" cap="flat" cmpd="sng" algn="ctr">
            <a:solidFill>
              <a:srgbClr val="2E3238"/>
            </a:solidFill>
            <a:prstDash val="sysDash"/>
            <a:miter lim="800000"/>
            <a:tailEnd type="triangle"/>
          </a:ln>
          <a:effectLst/>
        </p:spPr>
      </p:cxnSp>
      <p:sp>
        <p:nvSpPr>
          <p:cNvPr id="124" name="TextBox 123">
            <a:extLst>
              <a:ext uri="{FF2B5EF4-FFF2-40B4-BE49-F238E27FC236}">
                <a16:creationId xmlns:a16="http://schemas.microsoft.com/office/drawing/2014/main" id="{46ED309E-F59D-45A0-B1EE-99B4AA64F61D}"/>
              </a:ext>
            </a:extLst>
          </p:cNvPr>
          <p:cNvSpPr txBox="1"/>
          <p:nvPr/>
        </p:nvSpPr>
        <p:spPr>
          <a:xfrm>
            <a:off x="1139125" y="2772150"/>
            <a:ext cx="1939518" cy="1600438"/>
          </a:xfrm>
          <a:prstGeom prst="rect">
            <a:avLst/>
          </a:prstGeom>
          <a:noFill/>
        </p:spPr>
        <p:txBody>
          <a:bodyPr wrap="square" lIns="0" tIns="45720" rIns="0" bIns="45720" rtlCol="0" anchor="t">
            <a:spAutoFit/>
          </a:bodyPr>
          <a:lstStyle/>
          <a:p>
            <a:pPr lvl="0">
              <a:defRPr/>
            </a:pPr>
            <a:r>
              <a:rPr lang="en-US" sz="1400" dirty="0">
                <a:latin typeface="EYInterstate" panose="02000503020000020004" pitchFamily="2" charset="0"/>
              </a:rPr>
              <a:t>Submit a ticket in reference to your CVMS-related question or issue through the CVMS Help Desk Portal at </a:t>
            </a:r>
            <a:r>
              <a:rPr lang="en-US" sz="1400" dirty="0">
                <a:hlinkClick r:id="rId2"/>
              </a:rPr>
              <a:t>https://ncgov.servicenowservices.com/csm_vaccine</a:t>
            </a:r>
            <a:endParaRPr lang="en-US" sz="1400" dirty="0">
              <a:latin typeface="EYInterstate" panose="02000503020000020004" pitchFamily="2" charset="0"/>
            </a:endParaRPr>
          </a:p>
        </p:txBody>
      </p:sp>
      <p:cxnSp>
        <p:nvCxnSpPr>
          <p:cNvPr id="129" name="Straight Arrow Connector 128">
            <a:extLst>
              <a:ext uri="{FF2B5EF4-FFF2-40B4-BE49-F238E27FC236}">
                <a16:creationId xmlns:a16="http://schemas.microsoft.com/office/drawing/2014/main" id="{4E6E0D6E-A9EA-4467-B5E6-4152F3932A8D}"/>
              </a:ext>
            </a:extLst>
          </p:cNvPr>
          <p:cNvCxnSpPr/>
          <p:nvPr/>
        </p:nvCxnSpPr>
        <p:spPr>
          <a:xfrm>
            <a:off x="5904852" y="1987960"/>
            <a:ext cx="182880" cy="1"/>
          </a:xfrm>
          <a:prstGeom prst="straightConnector1">
            <a:avLst/>
          </a:prstGeom>
          <a:noFill/>
          <a:ln w="6350" cap="flat" cmpd="sng" algn="ctr">
            <a:solidFill>
              <a:srgbClr val="2E3238"/>
            </a:solidFill>
            <a:prstDash val="sysDash"/>
            <a:miter lim="800000"/>
            <a:tailEnd type="triangle"/>
          </a:ln>
          <a:effectLst/>
        </p:spPr>
      </p:cxnSp>
      <p:cxnSp>
        <p:nvCxnSpPr>
          <p:cNvPr id="130" name="Straight Arrow Connector 129">
            <a:extLst>
              <a:ext uri="{FF2B5EF4-FFF2-40B4-BE49-F238E27FC236}">
                <a16:creationId xmlns:a16="http://schemas.microsoft.com/office/drawing/2014/main" id="{1F19AC25-3327-44CA-A437-20360CC504DB}"/>
              </a:ext>
            </a:extLst>
          </p:cNvPr>
          <p:cNvCxnSpPr/>
          <p:nvPr/>
        </p:nvCxnSpPr>
        <p:spPr>
          <a:xfrm>
            <a:off x="8493776" y="1987960"/>
            <a:ext cx="182880" cy="1"/>
          </a:xfrm>
          <a:prstGeom prst="straightConnector1">
            <a:avLst/>
          </a:prstGeom>
          <a:noFill/>
          <a:ln w="6350" cap="flat" cmpd="sng" algn="ctr">
            <a:solidFill>
              <a:srgbClr val="2E3238"/>
            </a:solidFill>
            <a:prstDash val="sysDash"/>
            <a:miter lim="800000"/>
            <a:tailEnd type="triangle"/>
          </a:ln>
          <a:effectLst/>
        </p:spPr>
      </p:cxnSp>
      <p:pic>
        <p:nvPicPr>
          <p:cNvPr id="4" name="Graphic 3" descr="Computer">
            <a:extLst>
              <a:ext uri="{FF2B5EF4-FFF2-40B4-BE49-F238E27FC236}">
                <a16:creationId xmlns:a16="http://schemas.microsoft.com/office/drawing/2014/main" id="{423E82EB-C5E4-4978-B6E3-FF527DEFD9D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47834" y="1410272"/>
            <a:ext cx="1021859" cy="1021859"/>
          </a:xfrm>
          <a:prstGeom prst="rect">
            <a:avLst/>
          </a:prstGeom>
        </p:spPr>
      </p:pic>
      <p:sp>
        <p:nvSpPr>
          <p:cNvPr id="20" name="TextBox 19">
            <a:extLst>
              <a:ext uri="{FF2B5EF4-FFF2-40B4-BE49-F238E27FC236}">
                <a16:creationId xmlns:a16="http://schemas.microsoft.com/office/drawing/2014/main" id="{56FC00A2-FF17-493E-A90D-50A0BDC6DEC7}"/>
              </a:ext>
            </a:extLst>
          </p:cNvPr>
          <p:cNvSpPr txBox="1"/>
          <p:nvPr/>
        </p:nvSpPr>
        <p:spPr>
          <a:xfrm>
            <a:off x="3533453" y="2772150"/>
            <a:ext cx="2214330" cy="2031325"/>
          </a:xfrm>
          <a:prstGeom prst="rect">
            <a:avLst/>
          </a:prstGeom>
          <a:noFill/>
        </p:spPr>
        <p:txBody>
          <a:bodyPr wrap="square" lIns="0" tIns="45720" rIns="0" bIns="45720" rtlCol="0" anchor="t">
            <a:spAutoFit/>
          </a:bodyPr>
          <a:lstStyle/>
          <a:p>
            <a:pPr lvl="0">
              <a:defRPr/>
            </a:pPr>
            <a:r>
              <a:rPr lang="en-US" sz="1400" dirty="0">
                <a:latin typeface="EYInterstate" panose="02000503020000020004" pitchFamily="2" charset="0"/>
              </a:rPr>
              <a:t>Your submitted ticket is received and reviewed by a Help Desk Agent trained to assist you.</a:t>
            </a:r>
          </a:p>
          <a:p>
            <a:pPr lvl="0">
              <a:defRPr/>
            </a:pPr>
            <a:endParaRPr lang="en-US" sz="1400" dirty="0">
              <a:latin typeface="EYInterstate" panose="02000503020000020004" pitchFamily="2" charset="0"/>
            </a:endParaRPr>
          </a:p>
          <a:p>
            <a:pPr lvl="0">
              <a:defRPr/>
            </a:pPr>
            <a:r>
              <a:rPr lang="en-US" sz="1400" dirty="0">
                <a:latin typeface="EYInterstate" panose="02000503020000020004" pitchFamily="2" charset="0"/>
              </a:rPr>
              <a:t>The Help Desk Agent will assess your question or issue and determine the necessary helpful resources.</a:t>
            </a:r>
          </a:p>
        </p:txBody>
      </p:sp>
      <p:sp>
        <p:nvSpPr>
          <p:cNvPr id="21" name="TextBox 20">
            <a:extLst>
              <a:ext uri="{FF2B5EF4-FFF2-40B4-BE49-F238E27FC236}">
                <a16:creationId xmlns:a16="http://schemas.microsoft.com/office/drawing/2014/main" id="{C7140DB9-EA02-43CF-A667-A4695DFFCE48}"/>
              </a:ext>
            </a:extLst>
          </p:cNvPr>
          <p:cNvSpPr txBox="1"/>
          <p:nvPr/>
        </p:nvSpPr>
        <p:spPr>
          <a:xfrm>
            <a:off x="6129940" y="2774342"/>
            <a:ext cx="2412175" cy="3539430"/>
          </a:xfrm>
          <a:prstGeom prst="rect">
            <a:avLst/>
          </a:prstGeom>
          <a:noFill/>
        </p:spPr>
        <p:txBody>
          <a:bodyPr wrap="square" lIns="0" tIns="45720" rIns="0" bIns="45720" rtlCol="0" anchor="t">
            <a:spAutoFit/>
          </a:bodyPr>
          <a:lstStyle/>
          <a:p>
            <a:pPr lvl="0">
              <a:defRPr/>
            </a:pPr>
            <a:r>
              <a:rPr lang="en-US" sz="1400" dirty="0">
                <a:latin typeface="EYInterstate" panose="02000503020000020004" pitchFamily="2" charset="0"/>
              </a:rPr>
              <a:t>Within 1 to 2 business days, the Help Desk Agent will respond to your ticket with a proposed resolution or with a request for more information from you to help accurately triage and resolve your inquiry.</a:t>
            </a:r>
          </a:p>
          <a:p>
            <a:pPr lvl="0">
              <a:defRPr/>
            </a:pPr>
            <a:endParaRPr lang="en-US" sz="1400" dirty="0">
              <a:latin typeface="EYInterstate" panose="02000503020000020004" pitchFamily="2" charset="0"/>
            </a:endParaRPr>
          </a:p>
          <a:p>
            <a:pPr lvl="0">
              <a:defRPr/>
            </a:pPr>
            <a:r>
              <a:rPr lang="en-US" sz="1400" dirty="0">
                <a:latin typeface="EYInterstate" panose="02000503020000020004" pitchFamily="2" charset="0"/>
              </a:rPr>
              <a:t>You can respond to the email with any requested additional information.</a:t>
            </a:r>
          </a:p>
          <a:p>
            <a:pPr lvl="0">
              <a:defRPr/>
            </a:pPr>
            <a:endParaRPr lang="en-US" sz="1400" dirty="0">
              <a:latin typeface="EYInterstate" panose="02000503020000020004" pitchFamily="2" charset="0"/>
            </a:endParaRPr>
          </a:p>
          <a:p>
            <a:pPr>
              <a:defRPr/>
            </a:pPr>
            <a:r>
              <a:rPr lang="en-US" sz="1400" dirty="0">
                <a:latin typeface="EYInterstate" panose="02000503020000020004" pitchFamily="2" charset="0"/>
              </a:rPr>
              <a:t>You will be notified via email from </a:t>
            </a:r>
            <a:r>
              <a:rPr lang="en-US" sz="1400" b="1" dirty="0">
                <a:solidFill>
                  <a:srgbClr val="002060"/>
                </a:solidFill>
              </a:rPr>
              <a:t>ncgov@servicenowservices.com</a:t>
            </a:r>
          </a:p>
          <a:p>
            <a:pPr lvl="0">
              <a:defRPr/>
            </a:pPr>
            <a:endParaRPr lang="en-US" sz="1400" dirty="0">
              <a:latin typeface="EYInterstate" panose="02000503020000020004" pitchFamily="2" charset="0"/>
            </a:endParaRPr>
          </a:p>
        </p:txBody>
      </p:sp>
      <p:sp>
        <p:nvSpPr>
          <p:cNvPr id="22" name="TextBox 21">
            <a:extLst>
              <a:ext uri="{FF2B5EF4-FFF2-40B4-BE49-F238E27FC236}">
                <a16:creationId xmlns:a16="http://schemas.microsoft.com/office/drawing/2014/main" id="{375F6CD6-F02B-4AB6-9178-6F61338A2F9B}"/>
              </a:ext>
            </a:extLst>
          </p:cNvPr>
          <p:cNvSpPr txBox="1"/>
          <p:nvPr/>
        </p:nvSpPr>
        <p:spPr>
          <a:xfrm>
            <a:off x="9040704" y="2775169"/>
            <a:ext cx="1737360" cy="3539430"/>
          </a:xfrm>
          <a:prstGeom prst="rect">
            <a:avLst/>
          </a:prstGeom>
          <a:noFill/>
        </p:spPr>
        <p:txBody>
          <a:bodyPr wrap="square" lIns="0" tIns="45720" rIns="0" bIns="45720" rtlCol="0" anchor="t">
            <a:spAutoFit/>
          </a:bodyPr>
          <a:lstStyle/>
          <a:p>
            <a:pPr lvl="0">
              <a:defRPr/>
            </a:pPr>
            <a:r>
              <a:rPr lang="en-US" sz="1400" dirty="0">
                <a:latin typeface="EYInterstate" panose="02000503020000020004" pitchFamily="2" charset="0"/>
              </a:rPr>
              <a:t>If you have any additional questions  following the Help Desk Agent’s response, you may reply to the email within 8 days or submit a new ticket.</a:t>
            </a:r>
          </a:p>
          <a:p>
            <a:pPr lvl="0">
              <a:defRPr/>
            </a:pPr>
            <a:endParaRPr lang="en-US" sz="1400" dirty="0">
              <a:latin typeface="EYInterstate" panose="02000503020000020004" pitchFamily="2" charset="0"/>
            </a:endParaRPr>
          </a:p>
          <a:p>
            <a:pPr lvl="0">
              <a:defRPr/>
            </a:pPr>
            <a:r>
              <a:rPr lang="en-US" sz="1400" dirty="0">
                <a:latin typeface="EYInterstate" panose="02000503020000020004" pitchFamily="2" charset="0"/>
              </a:rPr>
              <a:t>If we receive no response from you after 8 days, your ticket is closed.</a:t>
            </a:r>
          </a:p>
          <a:p>
            <a:pPr lvl="0">
              <a:defRPr/>
            </a:pPr>
            <a:endParaRPr lang="en-US" sz="1400" dirty="0">
              <a:latin typeface="EYInterstate" panose="02000503020000020004" pitchFamily="2" charset="0"/>
            </a:endParaRPr>
          </a:p>
          <a:p>
            <a:pPr lvl="0">
              <a:defRPr/>
            </a:pPr>
            <a:r>
              <a:rPr lang="en-US" sz="1400" dirty="0">
                <a:latin typeface="EYInterstate" panose="02000503020000020004" pitchFamily="2" charset="0"/>
              </a:rPr>
              <a:t>You may submit additional tickets at any time.</a:t>
            </a:r>
          </a:p>
        </p:txBody>
      </p:sp>
      <p:pic>
        <p:nvPicPr>
          <p:cNvPr id="5" name="Graphic 4" descr="Call center">
            <a:extLst>
              <a:ext uri="{FF2B5EF4-FFF2-40B4-BE49-F238E27FC236}">
                <a16:creationId xmlns:a16="http://schemas.microsoft.com/office/drawing/2014/main" id="{58FE8E1A-88DE-4107-A429-35D0CAA844E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85104" y="1406650"/>
            <a:ext cx="914400" cy="914400"/>
          </a:xfrm>
          <a:prstGeom prst="rect">
            <a:avLst/>
          </a:prstGeom>
        </p:spPr>
      </p:pic>
      <p:pic>
        <p:nvPicPr>
          <p:cNvPr id="10" name="Graphic 9" descr="Email">
            <a:extLst>
              <a:ext uri="{FF2B5EF4-FFF2-40B4-BE49-F238E27FC236}">
                <a16:creationId xmlns:a16="http://schemas.microsoft.com/office/drawing/2014/main" id="{F855B527-6A56-4DFF-B42D-4A62B6F31C2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28665" y="1502751"/>
            <a:ext cx="794357" cy="794357"/>
          </a:xfrm>
          <a:prstGeom prst="rect">
            <a:avLst/>
          </a:prstGeom>
        </p:spPr>
      </p:pic>
      <p:pic>
        <p:nvPicPr>
          <p:cNvPr id="13" name="Graphic 12" descr="Checkmark">
            <a:extLst>
              <a:ext uri="{FF2B5EF4-FFF2-40B4-BE49-F238E27FC236}">
                <a16:creationId xmlns:a16="http://schemas.microsoft.com/office/drawing/2014/main" id="{2FD2590C-8863-42D7-976E-0A9E5309EC2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512205" y="1610769"/>
            <a:ext cx="794357" cy="794357"/>
          </a:xfrm>
          <a:prstGeom prst="rect">
            <a:avLst/>
          </a:prstGeom>
        </p:spPr>
      </p:pic>
    </p:spTree>
    <p:extLst>
      <p:ext uri="{BB962C8B-B14F-4D97-AF65-F5344CB8AC3E}">
        <p14:creationId xmlns:p14="http://schemas.microsoft.com/office/powerpoint/2010/main" val="35988913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8781122" cy="646331"/>
          </a:xfrm>
          <a:prstGeom prst="rect">
            <a:avLst/>
          </a:prstGeom>
          <a:noFill/>
        </p:spPr>
        <p:txBody>
          <a:bodyPr wrap="none" rtlCol="0">
            <a:spAutoFit/>
          </a:bodyPr>
          <a:lstStyle/>
          <a:p>
            <a:pPr lvl="0">
              <a:defRPr/>
            </a:pPr>
            <a:r>
              <a:rPr lang="en-US" sz="3600" b="1" dirty="0">
                <a:solidFill>
                  <a:prstClr val="white"/>
                </a:solidFill>
                <a:latin typeface="EYInterstate" panose="02000503020000020004" pitchFamily="2" charset="0"/>
              </a:rPr>
              <a:t>Submit a Ticket in the CVMS Help Desk Portal</a:t>
            </a:r>
            <a:endParaRPr lang="en-US" sz="2400" b="1" dirty="0">
              <a:solidFill>
                <a:prstClr val="white"/>
              </a:solidFill>
              <a:latin typeface="EYInterstate" panose="02000503020000020004" pitchFamily="2" charset="0"/>
            </a:endParaRPr>
          </a:p>
        </p:txBody>
      </p:sp>
    </p:spTree>
    <p:extLst>
      <p:ext uri="{BB962C8B-B14F-4D97-AF65-F5344CB8AC3E}">
        <p14:creationId xmlns:p14="http://schemas.microsoft.com/office/powerpoint/2010/main" val="37698561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a:t>
            </a:r>
            <a:r>
              <a:rPr lang="en-US" sz="2000" b="1" dirty="0">
                <a:ln w="0">
                  <a:noFill/>
                </a:ln>
                <a:solidFill>
                  <a:srgbClr val="000000"/>
                </a:solidFill>
                <a:latin typeface="EYInterstate"/>
                <a:cs typeface="Arial"/>
              </a:rPr>
              <a:t>1</a:t>
            </a: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 of </a:t>
            </a:r>
            <a:r>
              <a:rPr lang="en-US" sz="2000" b="1" dirty="0">
                <a:ln w="0">
                  <a:noFill/>
                </a:ln>
                <a:solidFill>
                  <a:srgbClr val="000000"/>
                </a:solidFill>
                <a:latin typeface="EYInterstate"/>
                <a:cs typeface="Arial"/>
              </a:rPr>
              <a:t>7</a:t>
            </a: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 </a:t>
            </a:r>
            <a:r>
              <a:rPr lang="en-US" sz="2000" b="1" dirty="0">
                <a:ln w="0">
                  <a:noFill/>
                </a:ln>
                <a:solidFill>
                  <a:srgbClr val="000000"/>
                </a:solidFill>
                <a:latin typeface="EYInterstate"/>
                <a:cs typeface="Arial"/>
              </a:rPr>
              <a:t>Navigate to Website</a:t>
            </a:r>
            <a:endParaRPr lang="en-US" sz="2000" b="1" i="0" u="none" strike="noStrike" kern="1200" cap="none" spc="0" normalizeH="0" baseline="0" noProof="0" dirty="0">
              <a:ln w="0">
                <a:noFill/>
              </a:ln>
              <a:solidFill>
                <a:srgbClr val="000000"/>
              </a:solidFill>
              <a:effectLst/>
              <a:uLnTx/>
              <a:uFillTx/>
              <a:latin typeface="EYInterstate"/>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326463" y="899652"/>
            <a:ext cx="9290778" cy="1713290"/>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b="1" dirty="0">
                <a:latin typeface="EYInterstate" panose="02000503020000020004" pitchFamily="2" charset="0"/>
              </a:rPr>
              <a:t>Note: </a:t>
            </a:r>
            <a:r>
              <a:rPr lang="en-US" dirty="0">
                <a:latin typeface="EYInterstate" panose="02000503020000020004" pitchFamily="2" charset="0"/>
              </a:rPr>
              <a:t>A “Vaccine Recipient” is anyone who is planning to receive (or has already received) the COVID-19 vaccine.</a:t>
            </a:r>
            <a:endParaRPr lang="en-US" b="1" dirty="0">
              <a:latin typeface="EYInterstate" panose="02000503020000020004" pitchFamily="2" charset="0"/>
            </a:endParaRPr>
          </a:p>
          <a:p>
            <a:pPr marL="12065" marR="5080" defTabSz="457200">
              <a:spcAft>
                <a:spcPts val="600"/>
              </a:spcAft>
              <a:tabLst>
                <a:tab pos="241300" algn="l"/>
              </a:tabLst>
              <a:defRPr/>
            </a:pPr>
            <a:endParaRPr lang="en-US" sz="1050" b="1" dirty="0">
              <a:latin typeface="EYInterstate" panose="02000503020000020004" pitchFamily="2" charset="0"/>
            </a:endParaRPr>
          </a:p>
          <a:p>
            <a:pPr marL="12065" marR="5080" defTabSz="457200">
              <a:spcAft>
                <a:spcPts val="600"/>
              </a:spcAft>
              <a:tabLst>
                <a:tab pos="241300" algn="l"/>
              </a:tabLst>
              <a:defRPr/>
            </a:pPr>
            <a:r>
              <a:rPr lang="en-US" b="1" dirty="0">
                <a:latin typeface="EYInterstate" panose="02000503020000020004" pitchFamily="2" charset="0"/>
              </a:rPr>
              <a:t>Go </a:t>
            </a:r>
            <a:r>
              <a:rPr lang="en-US" dirty="0">
                <a:latin typeface="EYInterstate" panose="02000503020000020004" pitchFamily="2" charset="0"/>
              </a:rPr>
              <a:t>to </a:t>
            </a:r>
            <a:r>
              <a:rPr lang="en-US" u="sng" dirty="0">
                <a:latin typeface="EYInterstate" panose="02000503020000020004" pitchFamily="2" charset="0"/>
                <a:hlinkClick r:id="rId7"/>
              </a:rPr>
              <a:t>https://ncgov.servicenowservices.com/csm_vaccine</a:t>
            </a:r>
            <a:r>
              <a:rPr lang="en-US" dirty="0">
                <a:latin typeface="EYInterstate" panose="02000503020000020004" pitchFamily="2" charset="0"/>
              </a:rPr>
              <a:t> to access the CVMS Help Desk Portal.</a:t>
            </a:r>
            <a:r>
              <a:rPr lang="en-US" b="1" dirty="0">
                <a:latin typeface="EYInterstate" panose="02000503020000020004" pitchFamily="2" charset="0"/>
              </a:rPr>
              <a:t> </a:t>
            </a:r>
          </a:p>
          <a:p>
            <a:pPr marL="12065" marR="5080" defTabSz="457200">
              <a:spcAft>
                <a:spcPts val="600"/>
              </a:spcAft>
              <a:tabLst>
                <a:tab pos="241300" algn="l"/>
              </a:tabLst>
              <a:defRPr/>
            </a:pPr>
            <a:endParaRPr lang="en-US" sz="800" b="1" dirty="0">
              <a:latin typeface="EYInterstate" panose="02000503020000020004" pitchFamily="2" charset="0"/>
            </a:endParaRPr>
          </a:p>
          <a:p>
            <a:pPr marL="12065" marR="5080" defTabSz="457200">
              <a:spcAft>
                <a:spcPts val="600"/>
              </a:spcAft>
              <a:tabLst>
                <a:tab pos="241300" algn="l"/>
              </a:tabLst>
              <a:defRPr/>
            </a:pPr>
            <a:r>
              <a:rPr lang="en-US" b="1" dirty="0">
                <a:latin typeface="EYInterstate" panose="02000503020000020004" pitchFamily="2" charset="0"/>
              </a:rPr>
              <a:t>Select</a:t>
            </a:r>
            <a:r>
              <a:rPr lang="en-US" dirty="0">
                <a:latin typeface="EYInterstate" panose="02000503020000020004" pitchFamily="2" charset="0"/>
              </a:rPr>
              <a:t> the </a:t>
            </a:r>
            <a:r>
              <a:rPr lang="en-US" b="1" dirty="0">
                <a:latin typeface="EYInterstate" panose="02000503020000020004" pitchFamily="2" charset="0"/>
              </a:rPr>
              <a:t>Vaccine Recipient </a:t>
            </a:r>
            <a:r>
              <a:rPr lang="en-US" dirty="0">
                <a:latin typeface="EYInterstate" panose="02000503020000020004" pitchFamily="2" charset="0"/>
              </a:rPr>
              <a:t>option. This will direct you to the Vaccine Recipient intake form.</a:t>
            </a:r>
            <a:endParaRPr kumimoji="0" lang="en-US" sz="1600" b="0" i="0" u="none" strike="noStrike" kern="1200" cap="none" spc="0" normalizeH="0" baseline="0" noProof="0" dirty="0">
              <a:ln>
                <a:noFill/>
              </a:ln>
              <a:solidFill>
                <a:srgbClr val="000000"/>
              </a:solidFill>
              <a:effectLst/>
              <a:uLnTx/>
              <a:uFillTx/>
              <a:latin typeface="EYInterstate" panose="02000503020000020004" pitchFamily="2" charset="0"/>
            </a:endParaRPr>
          </a:p>
        </p:txBody>
      </p:sp>
      <p:sp>
        <p:nvSpPr>
          <p:cNvPr id="12" name="Rectangle 11">
            <a:extLst>
              <a:ext uri="{FF2B5EF4-FFF2-40B4-BE49-F238E27FC236}">
                <a16:creationId xmlns:a16="http://schemas.microsoft.com/office/drawing/2014/main" id="{E6B17F7D-B21E-4888-915F-C4D114275924}"/>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C8790A2E-14EC-431A-8D3D-A0C0112FFD41}"/>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EYInterstate"/>
                <a:ea typeface="+mn-ea"/>
                <a:cs typeface="+mn-cs"/>
              </a:rPr>
              <a:t>Vaccine Recipients</a:t>
            </a:r>
          </a:p>
        </p:txBody>
      </p:sp>
      <p:sp>
        <p:nvSpPr>
          <p:cNvPr id="13" name="TextBox 12">
            <a:extLst>
              <a:ext uri="{FF2B5EF4-FFF2-40B4-BE49-F238E27FC236}">
                <a16:creationId xmlns:a16="http://schemas.microsoft.com/office/drawing/2014/main" id="{512C98CA-0CF8-4EA9-A3B6-4D0C2F533E60}"/>
              </a:ext>
            </a:extLst>
          </p:cNvPr>
          <p:cNvSpPr txBox="1"/>
          <p:nvPr/>
        </p:nvSpPr>
        <p:spPr>
          <a:xfrm>
            <a:off x="9868365" y="2399497"/>
            <a:ext cx="1946503"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b="1" dirty="0">
                <a:solidFill>
                  <a:srgbClr val="000000"/>
                </a:solidFill>
                <a:latin typeface="EYInterstate"/>
              </a:rPr>
              <a:t>Note</a:t>
            </a:r>
            <a:endParaRPr kumimoji="0" lang="en-US" sz="1400" b="1" i="0" u="none" strike="noStrike" kern="1200" cap="none" spc="0" normalizeH="0" baseline="0" noProof="0" dirty="0">
              <a:ln>
                <a:noFill/>
              </a:ln>
              <a:solidFill>
                <a:srgbClr val="000000"/>
              </a:solidFill>
              <a:effectLst/>
              <a:uLnTx/>
              <a:uFillTx/>
              <a:latin typeface="EYInterstate"/>
              <a:ea typeface="+mn-ea"/>
              <a:cs typeface="+mn-cs"/>
            </a:endParaRPr>
          </a:p>
          <a:p>
            <a:pPr>
              <a:spcAft>
                <a:spcPts val="600"/>
              </a:spcAft>
              <a:buClr>
                <a:srgbClr val="4472C4"/>
              </a:buClr>
              <a:buSzPct val="70000"/>
              <a:defRPr/>
            </a:pPr>
            <a:r>
              <a:rPr lang="en-US" sz="1400" dirty="0">
                <a:latin typeface="EYInterstate" panose="02000503020000020004" pitchFamily="2" charset="0"/>
              </a:rPr>
              <a:t>Vaccine Recipients do not need to Register or Login to the CVMS Help Desk Portal to submit a ticket.</a:t>
            </a:r>
            <a:endParaRPr kumimoji="0" lang="en-US" sz="1100" i="0" u="none" strike="noStrike" kern="1200" cap="none" spc="0" normalizeH="0" baseline="0" noProof="0" dirty="0">
              <a:ln>
                <a:noFill/>
              </a:ln>
              <a:solidFill>
                <a:srgbClr val="000000"/>
              </a:solidFill>
              <a:effectLst/>
              <a:uLnTx/>
              <a:uFillTx/>
              <a:latin typeface="EYInterstate" panose="02000503020000020004" pitchFamily="2" charset="0"/>
            </a:endParaRPr>
          </a:p>
        </p:txBody>
      </p:sp>
      <p:pic>
        <p:nvPicPr>
          <p:cNvPr id="3" name="Picture 2">
            <a:extLst>
              <a:ext uri="{FF2B5EF4-FFF2-40B4-BE49-F238E27FC236}">
                <a16:creationId xmlns:a16="http://schemas.microsoft.com/office/drawing/2014/main" id="{377E0644-0A3B-4EFC-A1EA-5F13AB1B5CC6}"/>
              </a:ext>
            </a:extLst>
          </p:cNvPr>
          <p:cNvPicPr>
            <a:picLocks noChangeAspect="1"/>
          </p:cNvPicPr>
          <p:nvPr/>
        </p:nvPicPr>
        <p:blipFill>
          <a:blip r:embed="rId8"/>
          <a:stretch>
            <a:fillRect/>
          </a:stretch>
        </p:blipFill>
        <p:spPr>
          <a:xfrm>
            <a:off x="785916" y="2976578"/>
            <a:ext cx="8142021" cy="3104200"/>
          </a:xfrm>
          <a:prstGeom prst="rect">
            <a:avLst/>
          </a:prstGeom>
          <a:ln>
            <a:solidFill>
              <a:schemeClr val="tx1"/>
            </a:solidFill>
          </a:ln>
        </p:spPr>
      </p:pic>
      <p:pic>
        <p:nvPicPr>
          <p:cNvPr id="20485" name="Picture 5" descr="Shape">
            <a:extLst>
              <a:ext uri="{FF2B5EF4-FFF2-40B4-BE49-F238E27FC236}">
                <a16:creationId xmlns:a16="http://schemas.microsoft.com/office/drawing/2014/main" id="{9A3B2A1E-2E50-4C51-875F-D697D7D48E2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53427" y="4644425"/>
            <a:ext cx="2257064" cy="703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72216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2 of 7: Complete Requestor Information</a:t>
            </a:r>
          </a:p>
        </p:txBody>
      </p:sp>
      <p:sp>
        <p:nvSpPr>
          <p:cNvPr id="21" name="object 4">
            <a:extLst>
              <a:ext uri="{FF2B5EF4-FFF2-40B4-BE49-F238E27FC236}">
                <a16:creationId xmlns:a16="http://schemas.microsoft.com/office/drawing/2014/main" id="{97484700-38C9-49CC-AFE3-401E5C2E2E73}"/>
              </a:ext>
            </a:extLst>
          </p:cNvPr>
          <p:cNvSpPr txBox="1"/>
          <p:nvPr/>
        </p:nvSpPr>
        <p:spPr>
          <a:xfrm>
            <a:off x="379048" y="858669"/>
            <a:ext cx="8519888" cy="1120820"/>
          </a:xfrm>
          <a:prstGeom prst="rect">
            <a:avLst/>
          </a:prstGeom>
        </p:spPr>
        <p:txBody>
          <a:bodyPr vert="horz" wrap="square" lIns="0" tIns="12700" rIns="0" bIns="0" rtlCol="0" anchor="t">
            <a:spAutoFit/>
          </a:bodyPr>
          <a:lstStyle/>
          <a:p>
            <a:pPr fontAlgn="base"/>
            <a:r>
              <a:rPr lang="en-US" dirty="0">
                <a:latin typeface="EYInterstate" panose="02000503020000020004" pitchFamily="2" charset="0"/>
              </a:rPr>
              <a:t>After selecting </a:t>
            </a:r>
            <a:r>
              <a:rPr lang="en-US" b="1" dirty="0">
                <a:latin typeface="EYInterstate" panose="02000503020000020004" pitchFamily="2" charset="0"/>
              </a:rPr>
              <a:t>Vaccine Recipient</a:t>
            </a:r>
            <a:r>
              <a:rPr lang="en-US" dirty="0">
                <a:latin typeface="EYInterstate" panose="02000503020000020004" pitchFamily="2" charset="0"/>
              </a:rPr>
              <a:t>, you will see the </a:t>
            </a:r>
            <a:r>
              <a:rPr lang="en-US" b="1" dirty="0">
                <a:latin typeface="EYInterstate" panose="02000503020000020004" pitchFamily="2" charset="0"/>
              </a:rPr>
              <a:t>Vaccine Recipient intake form</a:t>
            </a:r>
            <a:r>
              <a:rPr lang="en-US" dirty="0">
                <a:latin typeface="EYInterstate" panose="02000503020000020004" pitchFamily="2" charset="0"/>
              </a:rPr>
              <a:t>.  </a:t>
            </a:r>
          </a:p>
          <a:p>
            <a:pPr fontAlgn="base"/>
            <a:endParaRPr lang="en-US" dirty="0">
              <a:latin typeface="EYInterstate" panose="02000503020000020004" pitchFamily="2" charset="0"/>
            </a:endParaRPr>
          </a:p>
          <a:p>
            <a:pPr fontAlgn="base"/>
            <a:r>
              <a:rPr lang="en-US" dirty="0">
                <a:latin typeface="EYInterstate" panose="02000503020000020004" pitchFamily="2" charset="0"/>
              </a:rPr>
              <a:t>The top portion of the intake form is for </a:t>
            </a:r>
            <a:r>
              <a:rPr lang="en-US" b="1" dirty="0">
                <a:latin typeface="EYInterstate" panose="02000503020000020004" pitchFamily="2" charset="0"/>
              </a:rPr>
              <a:t>your Information</a:t>
            </a:r>
            <a:r>
              <a:rPr lang="en-US" dirty="0">
                <a:latin typeface="EYInterstate" panose="02000503020000020004" pitchFamily="2" charset="0"/>
              </a:rPr>
              <a:t>. As the ticket creator, you can type your personal information into the designated fields.  </a:t>
            </a:r>
            <a:endParaRPr kumimoji="0" lang="en-US" sz="1600" b="1" i="0" u="none" strike="noStrike" kern="1200" cap="none" spc="0" normalizeH="0" baseline="0" noProof="0" dirty="0">
              <a:ln>
                <a:noFill/>
              </a:ln>
              <a:solidFill>
                <a:srgbClr val="000000"/>
              </a:solidFill>
              <a:effectLst/>
              <a:uLnTx/>
              <a:uFillTx/>
              <a:latin typeface="EYInterstate" panose="02000503020000020004" pitchFamily="2" charset="0"/>
            </a:endParaRPr>
          </a:p>
        </p:txBody>
      </p:sp>
      <p:sp>
        <p:nvSpPr>
          <p:cNvPr id="13" name="Rectangle 12">
            <a:extLst>
              <a:ext uri="{FF2B5EF4-FFF2-40B4-BE49-F238E27FC236}">
                <a16:creationId xmlns:a16="http://schemas.microsoft.com/office/drawing/2014/main" id="{4A8ACE6D-F60F-4F13-8143-CCF51A175A37}"/>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20" name="Rectangle 19">
            <a:extLst>
              <a:ext uri="{FF2B5EF4-FFF2-40B4-BE49-F238E27FC236}">
                <a16:creationId xmlns:a16="http://schemas.microsoft.com/office/drawing/2014/main" id="{3CEF303B-DAEF-4960-8212-6FDC11DC4F7B}"/>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lvl="0" algn="ctr">
              <a:defRPr/>
            </a:pPr>
            <a:r>
              <a:rPr lang="en-US" sz="1100" b="1" dirty="0">
                <a:solidFill>
                  <a:schemeClr val="tx1"/>
                </a:solidFill>
                <a:latin typeface="EYInterstate"/>
              </a:rPr>
              <a:t>Vaccine Recipients</a:t>
            </a:r>
          </a:p>
        </p:txBody>
      </p:sp>
      <p:grpSp>
        <p:nvGrpSpPr>
          <p:cNvPr id="4" name="Group 3">
            <a:extLst>
              <a:ext uri="{FF2B5EF4-FFF2-40B4-BE49-F238E27FC236}">
                <a16:creationId xmlns:a16="http://schemas.microsoft.com/office/drawing/2014/main" id="{B6EA1070-249E-4362-8103-A2E4FDBB376E}"/>
              </a:ext>
            </a:extLst>
          </p:cNvPr>
          <p:cNvGrpSpPr/>
          <p:nvPr/>
        </p:nvGrpSpPr>
        <p:grpSpPr>
          <a:xfrm>
            <a:off x="538480" y="2305068"/>
            <a:ext cx="8360456" cy="2638518"/>
            <a:chOff x="538480" y="2305068"/>
            <a:chExt cx="8360456" cy="2638518"/>
          </a:xfrm>
        </p:grpSpPr>
        <p:pic>
          <p:nvPicPr>
            <p:cNvPr id="22531" name="Picture 3">
              <a:extLst>
                <a:ext uri="{FF2B5EF4-FFF2-40B4-BE49-F238E27FC236}">
                  <a16:creationId xmlns:a16="http://schemas.microsoft.com/office/drawing/2014/main" id="{D5A7F0C8-BE73-48C3-97BF-C66A25D559B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1361" y="2514308"/>
              <a:ext cx="3457575" cy="2009776"/>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pic>
          <p:nvPicPr>
            <p:cNvPr id="22532" name="Picture 4" descr="Shape">
              <a:extLst>
                <a:ext uri="{FF2B5EF4-FFF2-40B4-BE49-F238E27FC236}">
                  <a16:creationId xmlns:a16="http://schemas.microsoft.com/office/drawing/2014/main" id="{B1E04C46-3BC7-4BEC-8754-072B4C93022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55194" y="3074061"/>
              <a:ext cx="1057275" cy="18097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12175721-D230-42DB-9F38-2F1FF8ECFC60}"/>
                </a:ext>
              </a:extLst>
            </p:cNvPr>
            <p:cNvGrpSpPr/>
            <p:nvPr/>
          </p:nvGrpSpPr>
          <p:grpSpPr>
            <a:xfrm>
              <a:off x="538480" y="2305068"/>
              <a:ext cx="4185920" cy="2638518"/>
              <a:chOff x="538480" y="2305068"/>
              <a:chExt cx="4185920" cy="2638518"/>
            </a:xfrm>
          </p:grpSpPr>
          <p:pic>
            <p:nvPicPr>
              <p:cNvPr id="22534" name="Picture 6">
                <a:extLst>
                  <a:ext uri="{FF2B5EF4-FFF2-40B4-BE49-F238E27FC236}">
                    <a16:creationId xmlns:a16="http://schemas.microsoft.com/office/drawing/2014/main" id="{44DFBAC4-8265-4474-8577-C74EB0C4AB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8480" y="2305068"/>
                <a:ext cx="4185920" cy="2638518"/>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pic>
            <p:nvPicPr>
              <p:cNvPr id="14" name="Picture 5" descr="Shape">
                <a:extLst>
                  <a:ext uri="{FF2B5EF4-FFF2-40B4-BE49-F238E27FC236}">
                    <a16:creationId xmlns:a16="http://schemas.microsoft.com/office/drawing/2014/main" id="{4F38A0EE-4819-4A56-9072-7AF82907719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99507" y="3007360"/>
                <a:ext cx="877618" cy="340301"/>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 name="Rectangle 1">
            <a:extLst>
              <a:ext uri="{FF2B5EF4-FFF2-40B4-BE49-F238E27FC236}">
                <a16:creationId xmlns:a16="http://schemas.microsoft.com/office/drawing/2014/main" id="{19D9FEA9-893F-409A-824E-92957ECDACE1}"/>
              </a:ext>
            </a:extLst>
          </p:cNvPr>
          <p:cNvSpPr/>
          <p:nvPr/>
        </p:nvSpPr>
        <p:spPr>
          <a:xfrm>
            <a:off x="379048" y="4992166"/>
            <a:ext cx="8519888" cy="1200329"/>
          </a:xfrm>
          <a:prstGeom prst="rect">
            <a:avLst/>
          </a:prstGeom>
        </p:spPr>
        <p:txBody>
          <a:bodyPr wrap="square">
            <a:spAutoFit/>
          </a:bodyPr>
          <a:lstStyle/>
          <a:p>
            <a:pPr fontAlgn="base"/>
            <a:r>
              <a:rPr lang="en-US" dirty="0">
                <a:latin typeface="EYInterstate" panose="02000503020000020004" pitchFamily="2" charset="0"/>
              </a:rPr>
              <a:t>All the fields starred with a </a:t>
            </a:r>
            <a:r>
              <a:rPr lang="en-US" b="1" dirty="0">
                <a:latin typeface="EYInterstate" panose="02000503020000020004" pitchFamily="2" charset="0"/>
              </a:rPr>
              <a:t>red asterisk </a:t>
            </a:r>
            <a:r>
              <a:rPr lang="en-US" dirty="0">
                <a:latin typeface="EYInterstate" panose="02000503020000020004" pitchFamily="2" charset="0"/>
              </a:rPr>
              <a:t>(*) are required and the page will not allow you to submit the ticket without completing each required field. A list of red words on the right side of the screen will serve to remind you of any required fields that are still incomplete.</a:t>
            </a:r>
          </a:p>
        </p:txBody>
      </p:sp>
      <p:sp>
        <p:nvSpPr>
          <p:cNvPr id="12" name="TextBox 11">
            <a:extLst>
              <a:ext uri="{FF2B5EF4-FFF2-40B4-BE49-F238E27FC236}">
                <a16:creationId xmlns:a16="http://schemas.microsoft.com/office/drawing/2014/main" id="{02CDB8F5-2669-4F08-AD92-A79C8F7AEAD0}"/>
              </a:ext>
            </a:extLst>
          </p:cNvPr>
          <p:cNvSpPr txBox="1"/>
          <p:nvPr/>
        </p:nvSpPr>
        <p:spPr>
          <a:xfrm>
            <a:off x="9868365" y="2399497"/>
            <a:ext cx="1946503" cy="346248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b="1" dirty="0">
                <a:solidFill>
                  <a:srgbClr val="000000"/>
                </a:solidFill>
                <a:latin typeface="EYInterstate"/>
              </a:rPr>
              <a:t>Note</a:t>
            </a:r>
            <a:endParaRPr kumimoji="0" lang="en-US" sz="1400" b="1" i="0" u="none" strike="noStrike" kern="1200" cap="none" spc="0" normalizeH="0" baseline="0" noProof="0" dirty="0">
              <a:ln>
                <a:noFill/>
              </a:ln>
              <a:solidFill>
                <a:srgbClr val="000000"/>
              </a:solidFill>
              <a:effectLst/>
              <a:uLnTx/>
              <a:uFillTx/>
              <a:latin typeface="EYInterstate"/>
              <a:ea typeface="+mn-ea"/>
              <a:cs typeface="+mn-cs"/>
            </a:endParaRPr>
          </a:p>
          <a:p>
            <a:pPr>
              <a:spcAft>
                <a:spcPts val="600"/>
              </a:spcAft>
              <a:buClr>
                <a:srgbClr val="4472C4"/>
              </a:buClr>
              <a:buSzPct val="70000"/>
              <a:defRPr/>
            </a:pPr>
            <a:r>
              <a:rPr lang="en-US" sz="1400" dirty="0">
                <a:latin typeface="EYInterstate" panose="02000503020000020004" pitchFamily="2" charset="0"/>
              </a:rPr>
              <a:t>This information is to provide the Help Desk Agent with sufficient information to provide the recipient an answer to their question and/or to contact the recipient with any follow-up info necessary.</a:t>
            </a:r>
          </a:p>
          <a:p>
            <a:pPr>
              <a:spcAft>
                <a:spcPts val="600"/>
              </a:spcAft>
              <a:buClr>
                <a:srgbClr val="4472C4"/>
              </a:buClr>
              <a:buSzPct val="70000"/>
              <a:defRPr/>
            </a:pPr>
            <a:endParaRPr kumimoji="0" lang="en-US" sz="1400" i="0" u="none" strike="noStrike" kern="1200" cap="none" spc="0" normalizeH="0" baseline="0" noProof="0" dirty="0">
              <a:ln>
                <a:noFill/>
              </a:ln>
              <a:solidFill>
                <a:srgbClr val="000000"/>
              </a:solidFill>
              <a:effectLst/>
              <a:uLnTx/>
              <a:uFillTx/>
              <a:latin typeface="EYInterstate" panose="02000503020000020004" pitchFamily="2" charset="0"/>
            </a:endParaRPr>
          </a:p>
          <a:p>
            <a:pPr>
              <a:spcAft>
                <a:spcPts val="600"/>
              </a:spcAft>
              <a:buClr>
                <a:srgbClr val="4472C4"/>
              </a:buClr>
              <a:buSzPct val="70000"/>
              <a:defRPr/>
            </a:pPr>
            <a:r>
              <a:rPr lang="en-US" sz="1400" dirty="0">
                <a:solidFill>
                  <a:srgbClr val="000000"/>
                </a:solidFill>
                <a:latin typeface="EYInterstate" panose="02000503020000020004" pitchFamily="2" charset="0"/>
              </a:rPr>
              <a:t>This information is private and will not be shared with anyone outside of the CVMS Help Desk.</a:t>
            </a:r>
            <a:endParaRPr kumimoji="0" lang="en-US" sz="1100" i="0" u="none" strike="noStrike" kern="1200" cap="none" spc="0" normalizeH="0" baseline="0" noProof="0" dirty="0">
              <a:ln>
                <a:noFill/>
              </a:ln>
              <a:solidFill>
                <a:srgbClr val="000000"/>
              </a:solidFill>
              <a:effectLst/>
              <a:uLnTx/>
              <a:uFillTx/>
              <a:latin typeface="EYInterstate" panose="02000503020000020004" pitchFamily="2" charset="0"/>
            </a:endParaRPr>
          </a:p>
        </p:txBody>
      </p:sp>
    </p:spTree>
    <p:extLst>
      <p:ext uri="{BB962C8B-B14F-4D97-AF65-F5344CB8AC3E}">
        <p14:creationId xmlns:p14="http://schemas.microsoft.com/office/powerpoint/2010/main" val="4943694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3 of 7: </a:t>
            </a:r>
            <a:r>
              <a:rPr lang="en-US" sz="2000" b="1" dirty="0">
                <a:ln w="0">
                  <a:noFill/>
                </a:ln>
                <a:solidFill>
                  <a:srgbClr val="000000"/>
                </a:solidFill>
                <a:latin typeface="EYInterstate"/>
                <a:cs typeface="Arial"/>
              </a:rPr>
              <a:t>Complete Request Information</a:t>
            </a:r>
            <a:endParaRPr kumimoji="0" lang="en-US" sz="2000" b="1" i="0" u="none" strike="noStrike" kern="1200" cap="none" spc="0" normalizeH="0" baseline="0" noProof="0" dirty="0">
              <a:ln w="0">
                <a:noFill/>
              </a:ln>
              <a:solidFill>
                <a:srgbClr val="000000"/>
              </a:solidFill>
              <a:effectLst/>
              <a:uLnTx/>
              <a:uFillTx/>
              <a:latin typeface="EYInterstate"/>
              <a:ea typeface="+mj-ea"/>
              <a:cs typeface="Arial"/>
            </a:endParaRPr>
          </a:p>
        </p:txBody>
      </p:sp>
      <p:sp>
        <p:nvSpPr>
          <p:cNvPr id="16" name="TextBox 15">
            <a:extLst>
              <a:ext uri="{FF2B5EF4-FFF2-40B4-BE49-F238E27FC236}">
                <a16:creationId xmlns:a16="http://schemas.microsoft.com/office/drawing/2014/main" id="{F82660D4-174E-494B-8138-62CC2BD92056}"/>
              </a:ext>
            </a:extLst>
          </p:cNvPr>
          <p:cNvSpPr txBox="1"/>
          <p:nvPr/>
        </p:nvSpPr>
        <p:spPr>
          <a:xfrm>
            <a:off x="9868365" y="2399497"/>
            <a:ext cx="1946503"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Note</a:t>
            </a:r>
          </a:p>
          <a:p>
            <a:pPr lvl="0">
              <a:spcAft>
                <a:spcPts val="600"/>
              </a:spcAft>
              <a:buClr>
                <a:srgbClr val="4472C4"/>
              </a:buClr>
              <a:buSzPct val="70000"/>
              <a:defRPr/>
            </a:pPr>
            <a:r>
              <a:rPr lang="en-US" sz="1400" dirty="0">
                <a:latin typeface="EYInterstate" panose="02000503020000020004" pitchFamily="2" charset="0"/>
              </a:rPr>
              <a:t>See the Appendix for more details about the Request Type drop-down menu items.</a:t>
            </a:r>
            <a:endParaRPr kumimoji="0" lang="en-US" sz="1100" i="0" u="none" strike="noStrike" kern="1200" cap="none" spc="0" normalizeH="0" baseline="0" noProof="0" dirty="0">
              <a:ln>
                <a:noFill/>
              </a:ln>
              <a:solidFill>
                <a:srgbClr val="000000"/>
              </a:solidFill>
              <a:effectLst/>
              <a:uLnTx/>
              <a:uFillTx/>
              <a:latin typeface="EYInterstate" panose="02000503020000020004" pitchFamily="2" charset="0"/>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295230" y="1136108"/>
            <a:ext cx="2258384" cy="1951816"/>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dirty="0">
                <a:latin typeface="EYInterstate" panose="02000503020000020004" pitchFamily="2" charset="0"/>
              </a:rPr>
              <a:t>The lower portion of the intake form is for </a:t>
            </a:r>
            <a:r>
              <a:rPr lang="en-US" b="1" dirty="0">
                <a:latin typeface="EYInterstate" panose="02000503020000020004" pitchFamily="2" charset="0"/>
              </a:rPr>
              <a:t>Request Information</a:t>
            </a:r>
            <a:r>
              <a:rPr lang="en-US" dirty="0">
                <a:latin typeface="EYInterstate" panose="02000503020000020004" pitchFamily="2" charset="0"/>
              </a:rPr>
              <a:t>. Here is where you specify the type of inquiry you have.</a:t>
            </a:r>
            <a:endParaRPr kumimoji="0" lang="en-US" sz="1600" b="1" i="0" u="none" strike="noStrike" kern="1200" cap="none" spc="0" normalizeH="0" baseline="0" noProof="0" dirty="0">
              <a:ln>
                <a:noFill/>
              </a:ln>
              <a:solidFill>
                <a:srgbClr val="000000"/>
              </a:solidFill>
              <a:effectLst/>
              <a:uLnTx/>
              <a:uFillTx/>
              <a:latin typeface="EYInterstate" panose="02000503020000020004" pitchFamily="2" charset="0"/>
            </a:endParaRPr>
          </a:p>
        </p:txBody>
      </p:sp>
      <p:sp>
        <p:nvSpPr>
          <p:cNvPr id="11" name="Rectangle 10">
            <a:extLst>
              <a:ext uri="{FF2B5EF4-FFF2-40B4-BE49-F238E27FC236}">
                <a16:creationId xmlns:a16="http://schemas.microsoft.com/office/drawing/2014/main" id="{51C3714E-5162-4CE1-A8B9-2B1A19D944D9}"/>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95F0D1EB-18E1-4500-AAE6-A4CD090D37E8}"/>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lvl="0" algn="ctr">
              <a:defRPr/>
            </a:pPr>
            <a:r>
              <a:rPr lang="en-US" sz="1100" b="1" dirty="0">
                <a:solidFill>
                  <a:schemeClr val="tx1"/>
                </a:solidFill>
                <a:latin typeface="EYInterstate"/>
              </a:rPr>
              <a:t>Vaccine Recipients</a:t>
            </a:r>
          </a:p>
        </p:txBody>
      </p:sp>
      <p:pic>
        <p:nvPicPr>
          <p:cNvPr id="24579" name="Picture 3">
            <a:extLst>
              <a:ext uri="{FF2B5EF4-FFF2-40B4-BE49-F238E27FC236}">
                <a16:creationId xmlns:a16="http://schemas.microsoft.com/office/drawing/2014/main" id="{54B48591-2941-45FC-9F81-2DE1A32580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22554" y="1004084"/>
            <a:ext cx="6604026" cy="2424915"/>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83C4EC3-FB2B-48A6-B134-D8101EB18A23}"/>
              </a:ext>
            </a:extLst>
          </p:cNvPr>
          <p:cNvSpPr/>
          <p:nvPr/>
        </p:nvSpPr>
        <p:spPr>
          <a:xfrm>
            <a:off x="165446" y="3871452"/>
            <a:ext cx="2601354" cy="2308324"/>
          </a:xfrm>
          <a:prstGeom prst="rect">
            <a:avLst/>
          </a:prstGeom>
        </p:spPr>
        <p:txBody>
          <a:bodyPr wrap="square">
            <a:spAutoFit/>
          </a:bodyPr>
          <a:lstStyle/>
          <a:p>
            <a:r>
              <a:rPr lang="en-US" dirty="0">
                <a:solidFill>
                  <a:srgbClr val="000000"/>
                </a:solidFill>
                <a:latin typeface="EYInterstate" panose="02000503020000020004" pitchFamily="2" charset="0"/>
              </a:rPr>
              <a:t>Under </a:t>
            </a:r>
            <a:r>
              <a:rPr lang="en-US" b="1" dirty="0">
                <a:solidFill>
                  <a:srgbClr val="000000"/>
                </a:solidFill>
                <a:latin typeface="EYInterstate" panose="02000503020000020004" pitchFamily="2" charset="0"/>
              </a:rPr>
              <a:t>Request Type</a:t>
            </a:r>
            <a:r>
              <a:rPr lang="en-US" dirty="0">
                <a:solidFill>
                  <a:srgbClr val="000000"/>
                </a:solidFill>
                <a:latin typeface="EYInterstate" panose="02000503020000020004" pitchFamily="2" charset="0"/>
              </a:rPr>
              <a:t>,</a:t>
            </a:r>
            <a:r>
              <a:rPr lang="en-US" b="1" dirty="0">
                <a:solidFill>
                  <a:srgbClr val="000000"/>
                </a:solidFill>
                <a:latin typeface="EYInterstate" panose="02000503020000020004" pitchFamily="2" charset="0"/>
              </a:rPr>
              <a:t> </a:t>
            </a:r>
            <a:r>
              <a:rPr lang="en-US" dirty="0">
                <a:solidFill>
                  <a:srgbClr val="000000"/>
                </a:solidFill>
                <a:latin typeface="EYInterstate" panose="02000503020000020004" pitchFamily="2" charset="0"/>
              </a:rPr>
              <a:t>use your cursor to click anywhere in the box that currently says “—None—”. Doing so will activate a drop-down menu of request types to choose from. </a:t>
            </a:r>
            <a:endParaRPr lang="en-US" dirty="0">
              <a:latin typeface="EYInterstate" panose="02000503020000020004" pitchFamily="2" charset="0"/>
            </a:endParaRPr>
          </a:p>
        </p:txBody>
      </p:sp>
      <p:pic>
        <p:nvPicPr>
          <p:cNvPr id="24581" name="Picture 5">
            <a:extLst>
              <a:ext uri="{FF2B5EF4-FFF2-40B4-BE49-F238E27FC236}">
                <a16:creationId xmlns:a16="http://schemas.microsoft.com/office/drawing/2014/main" id="{94D9E32F-B25C-4A34-9117-628C2B6E31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22554" y="3841044"/>
            <a:ext cx="6604026" cy="2465607"/>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3699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Step 4 of </a:t>
            </a:r>
            <a:r>
              <a:rPr lang="en-US" sz="2000" b="1" dirty="0">
                <a:ln w="0">
                  <a:noFill/>
                </a:ln>
                <a:solidFill>
                  <a:srgbClr val="000000"/>
                </a:solidFill>
                <a:latin typeface="EYInterstate"/>
                <a:cs typeface="Arial"/>
              </a:rPr>
              <a:t>7</a:t>
            </a:r>
            <a:r>
              <a:rPr kumimoji="0" lang="en-US" sz="2000" b="1" i="0" u="none" strike="noStrike" kern="1200" cap="none" spc="0" normalizeH="0" baseline="0" noProof="0" dirty="0">
                <a:ln w="0">
                  <a:noFill/>
                </a:ln>
                <a:solidFill>
                  <a:srgbClr val="000000"/>
                </a:solidFill>
                <a:effectLst/>
                <a:uLnTx/>
                <a:uFillTx/>
                <a:latin typeface="EYInterstate"/>
                <a:ea typeface="+mj-ea"/>
                <a:cs typeface="Arial"/>
              </a:rPr>
              <a:t>: </a:t>
            </a:r>
            <a:r>
              <a:rPr lang="en-US" sz="2000" b="1" dirty="0">
                <a:ln w="0">
                  <a:noFill/>
                </a:ln>
                <a:solidFill>
                  <a:srgbClr val="000000"/>
                </a:solidFill>
                <a:latin typeface="EYInterstate"/>
                <a:cs typeface="Arial"/>
              </a:rPr>
              <a:t>Provide Request Details</a:t>
            </a:r>
            <a:endParaRPr kumimoji="0" lang="en-US" sz="2000" b="1" i="0" u="none" strike="noStrike" kern="1200" cap="none" spc="0" normalizeH="0" baseline="0" noProof="0" dirty="0">
              <a:ln w="0">
                <a:noFill/>
              </a:ln>
              <a:solidFill>
                <a:srgbClr val="000000"/>
              </a:solidFill>
              <a:effectLst/>
              <a:uLnTx/>
              <a:uFillTx/>
              <a:latin typeface="EYInterstate"/>
              <a:ea typeface="+mj-ea"/>
              <a:cs typeface="Arial"/>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349184" y="1131444"/>
            <a:ext cx="9125745" cy="566822"/>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dirty="0">
                <a:latin typeface="EYInterstate" panose="02000503020000020004" pitchFamily="2" charset="0"/>
              </a:rPr>
              <a:t>In the field labeled </a:t>
            </a:r>
            <a:r>
              <a:rPr lang="en-US" b="1" dirty="0">
                <a:latin typeface="EYInterstate" panose="02000503020000020004" pitchFamily="2" charset="0"/>
              </a:rPr>
              <a:t>Description of Request</a:t>
            </a:r>
            <a:r>
              <a:rPr lang="en-US" dirty="0">
                <a:latin typeface="EYInterstate" panose="02000503020000020004" pitchFamily="2" charset="0"/>
              </a:rPr>
              <a:t>, go into more detail about your request so that the Help Desk Agent can provide you with the most accurate support.</a:t>
            </a:r>
            <a:endParaRPr kumimoji="0" lang="en-US" sz="1600" b="1" i="0" u="none" strike="noStrike" kern="1200" cap="none" spc="0" normalizeH="0" baseline="0" noProof="0" dirty="0">
              <a:ln>
                <a:noFill/>
              </a:ln>
              <a:solidFill>
                <a:srgbClr val="000000"/>
              </a:solidFill>
              <a:effectLst/>
              <a:uLnTx/>
              <a:uFillTx/>
              <a:latin typeface="EYInterstate" panose="02000503020000020004" pitchFamily="2" charset="0"/>
            </a:endParaRPr>
          </a:p>
        </p:txBody>
      </p:sp>
      <p:sp>
        <p:nvSpPr>
          <p:cNvPr id="11" name="Rectangle 10">
            <a:extLst>
              <a:ext uri="{FF2B5EF4-FFF2-40B4-BE49-F238E27FC236}">
                <a16:creationId xmlns:a16="http://schemas.microsoft.com/office/drawing/2014/main" id="{51C3714E-5162-4CE1-A8B9-2B1A19D944D9}"/>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95F0D1EB-18E1-4500-AAE6-A4CD090D37E8}"/>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lvl="0" algn="ctr">
              <a:defRPr/>
            </a:pPr>
            <a:r>
              <a:rPr lang="en-US" sz="1100" b="1" dirty="0">
                <a:solidFill>
                  <a:schemeClr val="tx1"/>
                </a:solidFill>
                <a:latin typeface="EYInterstate"/>
              </a:rPr>
              <a:t>Vaccine Recipients</a:t>
            </a:r>
          </a:p>
        </p:txBody>
      </p:sp>
      <p:grpSp>
        <p:nvGrpSpPr>
          <p:cNvPr id="2" name="Group 1">
            <a:extLst>
              <a:ext uri="{FF2B5EF4-FFF2-40B4-BE49-F238E27FC236}">
                <a16:creationId xmlns:a16="http://schemas.microsoft.com/office/drawing/2014/main" id="{D4A8375A-426A-4804-B705-68C13E2DCDC7}"/>
              </a:ext>
            </a:extLst>
          </p:cNvPr>
          <p:cNvGrpSpPr/>
          <p:nvPr/>
        </p:nvGrpSpPr>
        <p:grpSpPr>
          <a:xfrm>
            <a:off x="989396" y="2324911"/>
            <a:ext cx="7845320" cy="2880703"/>
            <a:chOff x="989396" y="2324911"/>
            <a:chExt cx="7845320" cy="2880703"/>
          </a:xfrm>
        </p:grpSpPr>
        <p:pic>
          <p:nvPicPr>
            <p:cNvPr id="9" name="Picture 3">
              <a:extLst>
                <a:ext uri="{FF2B5EF4-FFF2-40B4-BE49-F238E27FC236}">
                  <a16:creationId xmlns:a16="http://schemas.microsoft.com/office/drawing/2014/main" id="{DEB6858F-A314-46E9-AF77-D00CB481E3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9396" y="2324911"/>
              <a:ext cx="7845320" cy="2880703"/>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pic>
          <p:nvPicPr>
            <p:cNvPr id="10" name="Picture 5" descr="Shape">
              <a:extLst>
                <a:ext uri="{FF2B5EF4-FFF2-40B4-BE49-F238E27FC236}">
                  <a16:creationId xmlns:a16="http://schemas.microsoft.com/office/drawing/2014/main" id="{8DBC01FA-848D-42BB-8A48-2931363B461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18384" y="3135017"/>
              <a:ext cx="1516333" cy="58796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525632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Notes0 xmlns="74d61543-0b61-4671-82ca-38c443c70a2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4042674D9E715409B97947C644B0284" ma:contentTypeVersion="10" ma:contentTypeDescription="Create a new document." ma:contentTypeScope="" ma:versionID="3ccfe82fa0e79ae242a378b6c128bd09">
  <xsd:schema xmlns:xsd="http://www.w3.org/2001/XMLSchema" xmlns:xs="http://www.w3.org/2001/XMLSchema" xmlns:p="http://schemas.microsoft.com/office/2006/metadata/properties" xmlns:ns2="e519310d-fb73-46d5-9f91-9df25b56a055" xmlns:ns3="74d61543-0b61-4671-82ca-38c443c70a24" targetNamespace="http://schemas.microsoft.com/office/2006/metadata/properties" ma:root="true" ma:fieldsID="b0d9a48a7874222db239bd03cb52788d" ns2:_="" ns3:_="">
    <xsd:import namespace="e519310d-fb73-46d5-9f91-9df25b56a055"/>
    <xsd:import namespace="74d61543-0b61-4671-82ca-38c443c70a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Notes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19310d-fb73-46d5-9f91-9df25b56a05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d61543-0b61-4671-82ca-38c443c70a2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Notes0" ma:index="17" nillable="true" ma:displayName="Notes" ma:internalName="Notes0">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56A4C7F-AF1A-4681-99D4-6B6DB0024014}">
  <ds:schemaRefs>
    <ds:schemaRef ds:uri="http://schemas.microsoft.com/sharepoint/v3/contenttype/forms"/>
  </ds:schemaRefs>
</ds:datastoreItem>
</file>

<file path=customXml/itemProps2.xml><?xml version="1.0" encoding="utf-8"?>
<ds:datastoreItem xmlns:ds="http://schemas.openxmlformats.org/officeDocument/2006/customXml" ds:itemID="{596AB080-0C3F-4431-8B01-0913CBEE3FE6}">
  <ds:schemaRefs>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e519310d-fb73-46d5-9f91-9df25b56a055"/>
    <ds:schemaRef ds:uri="74d61543-0b61-4671-82ca-38c443c70a24"/>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E9F3EFB1-9FCA-4E6C-85DE-A94C340736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19310d-fb73-46d5-9f91-9df25b56a055"/>
    <ds:schemaRef ds:uri="74d61543-0b61-4671-82ca-38c443c70a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33</TotalTime>
  <Words>1175</Words>
  <Application>Microsoft Office PowerPoint</Application>
  <PresentationFormat>Widescreen</PresentationFormat>
  <Paragraphs>126</Paragraphs>
  <Slides>15</Slides>
  <Notes>1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Arial</vt:lpstr>
      <vt:lpstr>Calibri</vt:lpstr>
      <vt:lpstr>Calibri Light</vt:lpstr>
      <vt:lpstr>Century Gothic</vt:lpstr>
      <vt:lpstr>EYInterstate</vt:lpstr>
      <vt:lpstr>EYInterstate Light</vt:lpstr>
      <vt:lpstr>office theme</vt:lpstr>
      <vt:lpstr>think-cell Slide</vt:lpstr>
      <vt:lpstr>North Carolina COVID-19 Vaccine Management System  How to Submit a Ticket through the CVMS Help Desk Portal –  Recipient User Gu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denas Jaldon, Esther</dc:creator>
  <cp:lastModifiedBy>Jim Bard</cp:lastModifiedBy>
  <cp:revision>3</cp:revision>
  <dcterms:created xsi:type="dcterms:W3CDTF">2020-11-09T16:02:13Z</dcterms:created>
  <dcterms:modified xsi:type="dcterms:W3CDTF">2021-02-09T20:5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042674D9E715409B97947C644B0284</vt:lpwstr>
  </property>
  <property fmtid="{D5CDD505-2E9C-101B-9397-08002B2CF9AE}" pid="3" name="MSIP_Label_1bc0f418-96a4-4caf-9d7c-ccc5ec7f9d91_Enabled">
    <vt:lpwstr>true</vt:lpwstr>
  </property>
  <property fmtid="{D5CDD505-2E9C-101B-9397-08002B2CF9AE}" pid="4" name="MSIP_Label_1bc0f418-96a4-4caf-9d7c-ccc5ec7f9d91_SetDate">
    <vt:lpwstr>2020-11-22T23:44:57Z</vt:lpwstr>
  </property>
  <property fmtid="{D5CDD505-2E9C-101B-9397-08002B2CF9AE}" pid="5" name="MSIP_Label_1bc0f418-96a4-4caf-9d7c-ccc5ec7f9d91_Method">
    <vt:lpwstr>Privileged</vt:lpwstr>
  </property>
  <property fmtid="{D5CDD505-2E9C-101B-9397-08002B2CF9AE}" pid="6" name="MSIP_Label_1bc0f418-96a4-4caf-9d7c-ccc5ec7f9d91_Name">
    <vt:lpwstr>1bc0f418-96a4-4caf-9d7c-ccc5ec7f9d91</vt:lpwstr>
  </property>
  <property fmtid="{D5CDD505-2E9C-101B-9397-08002B2CF9AE}" pid="7" name="MSIP_Label_1bc0f418-96a4-4caf-9d7c-ccc5ec7f9d91_SiteId">
    <vt:lpwstr>e0793d39-0939-496d-b129-198edd916feb</vt:lpwstr>
  </property>
  <property fmtid="{D5CDD505-2E9C-101B-9397-08002B2CF9AE}" pid="8" name="MSIP_Label_1bc0f418-96a4-4caf-9d7c-ccc5ec7f9d91_ActionId">
    <vt:lpwstr>790882ca-1651-494f-bc15-4bb3811140e7</vt:lpwstr>
  </property>
  <property fmtid="{D5CDD505-2E9C-101B-9397-08002B2CF9AE}" pid="9" name="MSIP_Label_1bc0f418-96a4-4caf-9d7c-ccc5ec7f9d91_ContentBits">
    <vt:lpwstr>0</vt:lpwstr>
  </property>
</Properties>
</file>